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957" r:id="rId3"/>
    <p:sldMasterId id="2147484478" r:id="rId4"/>
    <p:sldMasterId id="2147484548" r:id="rId5"/>
    <p:sldMasterId id="2147484575" r:id="rId6"/>
    <p:sldMasterId id="2147484582" r:id="rId7"/>
  </p:sldMasterIdLst>
  <p:notesMasterIdLst>
    <p:notesMasterId r:id="rId34"/>
  </p:notesMasterIdLst>
  <p:sldIdLst>
    <p:sldId id="765" r:id="rId8"/>
    <p:sldId id="2185" r:id="rId9"/>
    <p:sldId id="2252" r:id="rId10"/>
    <p:sldId id="2253" r:id="rId11"/>
    <p:sldId id="2248" r:id="rId12"/>
    <p:sldId id="2249" r:id="rId13"/>
    <p:sldId id="4528" r:id="rId14"/>
    <p:sldId id="2187" r:id="rId15"/>
    <p:sldId id="352" r:id="rId16"/>
    <p:sldId id="4529" r:id="rId17"/>
    <p:sldId id="340" r:id="rId18"/>
    <p:sldId id="320" r:id="rId19"/>
    <p:sldId id="2224" r:id="rId20"/>
    <p:sldId id="351" r:id="rId21"/>
    <p:sldId id="4530" r:id="rId22"/>
    <p:sldId id="2237" r:id="rId23"/>
    <p:sldId id="2238" r:id="rId24"/>
    <p:sldId id="2239" r:id="rId25"/>
    <p:sldId id="2241" r:id="rId26"/>
    <p:sldId id="4531" r:id="rId27"/>
    <p:sldId id="398" r:id="rId28"/>
    <p:sldId id="399" r:id="rId29"/>
    <p:sldId id="396" r:id="rId30"/>
    <p:sldId id="397" r:id="rId31"/>
    <p:sldId id="4532" r:id="rId32"/>
    <p:sldId id="1985" r:id="rId33"/>
  </p:sldIdLst>
  <p:sldSz cx="12192000" cy="6858000"/>
  <p:notesSz cx="6858000" cy="9144000"/>
  <p:custDataLst>
    <p:tags r:id="rId3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FF00"/>
    <a:srgbClr val="FF6600"/>
    <a:srgbClr val="305983"/>
    <a:srgbClr val="92D050"/>
    <a:srgbClr val="FFFFFF"/>
    <a:srgbClr val="FFCCFF"/>
    <a:srgbClr val="F7E7E9"/>
    <a:srgbClr val="D31145"/>
    <a:srgbClr val="E7F6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68" autoAdjust="0"/>
    <p:restoredTop sz="96229" autoAdjust="0"/>
  </p:normalViewPr>
  <p:slideViewPr>
    <p:cSldViewPr snapToGrid="0">
      <p:cViewPr varScale="1">
        <p:scale>
          <a:sx n="102" d="100"/>
          <a:sy n="102" d="100"/>
        </p:scale>
        <p:origin x="630" y="96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565</c:f>
              <c:numCache>
                <c:formatCode>m/d/yyyy</c:formatCode>
                <c:ptCount val="564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</c:numCache>
            </c:numRef>
          </c:cat>
          <c:val>
            <c:numRef>
              <c:f>Sheet1!$B$2:$B$565</c:f>
              <c:numCache>
                <c:formatCode>General</c:formatCode>
                <c:ptCount val="564"/>
                <c:pt idx="10">
                  <c:v>2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6</c:v>
                </c:pt>
                <c:pt idx="16">
                  <c:v>12</c:v>
                </c:pt>
                <c:pt idx="17">
                  <c:v>19</c:v>
                </c:pt>
                <c:pt idx="18">
                  <c:v>26</c:v>
                </c:pt>
                <c:pt idx="19">
                  <c:v>35</c:v>
                </c:pt>
                <c:pt idx="20">
                  <c:v>46</c:v>
                </c:pt>
                <c:pt idx="21">
                  <c:v>59</c:v>
                </c:pt>
                <c:pt idx="22">
                  <c:v>73</c:v>
                </c:pt>
                <c:pt idx="23">
                  <c:v>85</c:v>
                </c:pt>
                <c:pt idx="24">
                  <c:v>103</c:v>
                </c:pt>
                <c:pt idx="25">
                  <c:v>124</c:v>
                </c:pt>
                <c:pt idx="26">
                  <c:v>149</c:v>
                </c:pt>
                <c:pt idx="27">
                  <c:v>176</c:v>
                </c:pt>
                <c:pt idx="28">
                  <c:v>203</c:v>
                </c:pt>
                <c:pt idx="29">
                  <c:v>228</c:v>
                </c:pt>
                <c:pt idx="30">
                  <c:v>255</c:v>
                </c:pt>
                <c:pt idx="31">
                  <c:v>279</c:v>
                </c:pt>
                <c:pt idx="32">
                  <c:v>300</c:v>
                </c:pt>
                <c:pt idx="33">
                  <c:v>320</c:v>
                </c:pt>
                <c:pt idx="34">
                  <c:v>333</c:v>
                </c:pt>
                <c:pt idx="35">
                  <c:v>346</c:v>
                </c:pt>
                <c:pt idx="36">
                  <c:v>360</c:v>
                </c:pt>
                <c:pt idx="37">
                  <c:v>373</c:v>
                </c:pt>
                <c:pt idx="38">
                  <c:v>384</c:v>
                </c:pt>
                <c:pt idx="39">
                  <c:v>394</c:v>
                </c:pt>
                <c:pt idx="40">
                  <c:v>398</c:v>
                </c:pt>
                <c:pt idx="41">
                  <c:v>404</c:v>
                </c:pt>
                <c:pt idx="42">
                  <c:v>408</c:v>
                </c:pt>
                <c:pt idx="43">
                  <c:v>408</c:v>
                </c:pt>
                <c:pt idx="44">
                  <c:v>404</c:v>
                </c:pt>
                <c:pt idx="45">
                  <c:v>397</c:v>
                </c:pt>
                <c:pt idx="46">
                  <c:v>389</c:v>
                </c:pt>
                <c:pt idx="47">
                  <c:v>382</c:v>
                </c:pt>
                <c:pt idx="48">
                  <c:v>372</c:v>
                </c:pt>
                <c:pt idx="49">
                  <c:v>364</c:v>
                </c:pt>
                <c:pt idx="50">
                  <c:v>357</c:v>
                </c:pt>
                <c:pt idx="51">
                  <c:v>354</c:v>
                </c:pt>
                <c:pt idx="52">
                  <c:v>350</c:v>
                </c:pt>
                <c:pt idx="53">
                  <c:v>346</c:v>
                </c:pt>
                <c:pt idx="54">
                  <c:v>343</c:v>
                </c:pt>
                <c:pt idx="55">
                  <c:v>339</c:v>
                </c:pt>
                <c:pt idx="56">
                  <c:v>334</c:v>
                </c:pt>
                <c:pt idx="57">
                  <c:v>329</c:v>
                </c:pt>
                <c:pt idx="58">
                  <c:v>320</c:v>
                </c:pt>
                <c:pt idx="59">
                  <c:v>312</c:v>
                </c:pt>
                <c:pt idx="60">
                  <c:v>303</c:v>
                </c:pt>
                <c:pt idx="61">
                  <c:v>291</c:v>
                </c:pt>
                <c:pt idx="62">
                  <c:v>279</c:v>
                </c:pt>
                <c:pt idx="63">
                  <c:v>268</c:v>
                </c:pt>
                <c:pt idx="64">
                  <c:v>258</c:v>
                </c:pt>
                <c:pt idx="65">
                  <c:v>246</c:v>
                </c:pt>
                <c:pt idx="66">
                  <c:v>235</c:v>
                </c:pt>
                <c:pt idx="67">
                  <c:v>224</c:v>
                </c:pt>
                <c:pt idx="68">
                  <c:v>215</c:v>
                </c:pt>
                <c:pt idx="69">
                  <c:v>207</c:v>
                </c:pt>
                <c:pt idx="70">
                  <c:v>197</c:v>
                </c:pt>
                <c:pt idx="71">
                  <c:v>187</c:v>
                </c:pt>
                <c:pt idx="72">
                  <c:v>178</c:v>
                </c:pt>
                <c:pt idx="73">
                  <c:v>169</c:v>
                </c:pt>
                <c:pt idx="74">
                  <c:v>160</c:v>
                </c:pt>
                <c:pt idx="75">
                  <c:v>151</c:v>
                </c:pt>
                <c:pt idx="76">
                  <c:v>142</c:v>
                </c:pt>
                <c:pt idx="77">
                  <c:v>134</c:v>
                </c:pt>
                <c:pt idx="78">
                  <c:v>126</c:v>
                </c:pt>
                <c:pt idx="79">
                  <c:v>119</c:v>
                </c:pt>
                <c:pt idx="80">
                  <c:v>113</c:v>
                </c:pt>
                <c:pt idx="81">
                  <c:v>109</c:v>
                </c:pt>
                <c:pt idx="82">
                  <c:v>106</c:v>
                </c:pt>
                <c:pt idx="83">
                  <c:v>103</c:v>
                </c:pt>
                <c:pt idx="84">
                  <c:v>101</c:v>
                </c:pt>
                <c:pt idx="85">
                  <c:v>98</c:v>
                </c:pt>
                <c:pt idx="86">
                  <c:v>95</c:v>
                </c:pt>
                <c:pt idx="87">
                  <c:v>93</c:v>
                </c:pt>
                <c:pt idx="88">
                  <c:v>89</c:v>
                </c:pt>
                <c:pt idx="89">
                  <c:v>85</c:v>
                </c:pt>
                <c:pt idx="90">
                  <c:v>82</c:v>
                </c:pt>
                <c:pt idx="91">
                  <c:v>79</c:v>
                </c:pt>
                <c:pt idx="92">
                  <c:v>76</c:v>
                </c:pt>
                <c:pt idx="93">
                  <c:v>74</c:v>
                </c:pt>
                <c:pt idx="94">
                  <c:v>71</c:v>
                </c:pt>
                <c:pt idx="95">
                  <c:v>69</c:v>
                </c:pt>
                <c:pt idx="96">
                  <c:v>67</c:v>
                </c:pt>
                <c:pt idx="97">
                  <c:v>66</c:v>
                </c:pt>
                <c:pt idx="98">
                  <c:v>64</c:v>
                </c:pt>
                <c:pt idx="99">
                  <c:v>62</c:v>
                </c:pt>
                <c:pt idx="100">
                  <c:v>61</c:v>
                </c:pt>
                <c:pt idx="101">
                  <c:v>61</c:v>
                </c:pt>
                <c:pt idx="102">
                  <c:v>62</c:v>
                </c:pt>
                <c:pt idx="103">
                  <c:v>63</c:v>
                </c:pt>
                <c:pt idx="104">
                  <c:v>64</c:v>
                </c:pt>
                <c:pt idx="105">
                  <c:v>65</c:v>
                </c:pt>
                <c:pt idx="106">
                  <c:v>67</c:v>
                </c:pt>
                <c:pt idx="107">
                  <c:v>70</c:v>
                </c:pt>
                <c:pt idx="108">
                  <c:v>72</c:v>
                </c:pt>
                <c:pt idx="109">
                  <c:v>75</c:v>
                </c:pt>
                <c:pt idx="110">
                  <c:v>77</c:v>
                </c:pt>
                <c:pt idx="111">
                  <c:v>78</c:v>
                </c:pt>
                <c:pt idx="112">
                  <c:v>79</c:v>
                </c:pt>
                <c:pt idx="113">
                  <c:v>79</c:v>
                </c:pt>
                <c:pt idx="114">
                  <c:v>79</c:v>
                </c:pt>
                <c:pt idx="115">
                  <c:v>78</c:v>
                </c:pt>
                <c:pt idx="116">
                  <c:v>76</c:v>
                </c:pt>
                <c:pt idx="117">
                  <c:v>73</c:v>
                </c:pt>
                <c:pt idx="118">
                  <c:v>70</c:v>
                </c:pt>
                <c:pt idx="119">
                  <c:v>69</c:v>
                </c:pt>
                <c:pt idx="120">
                  <c:v>68</c:v>
                </c:pt>
                <c:pt idx="121">
                  <c:v>68</c:v>
                </c:pt>
                <c:pt idx="122">
                  <c:v>67</c:v>
                </c:pt>
                <c:pt idx="123">
                  <c:v>68</c:v>
                </c:pt>
                <c:pt idx="124">
                  <c:v>69</c:v>
                </c:pt>
                <c:pt idx="125">
                  <c:v>70</c:v>
                </c:pt>
                <c:pt idx="126">
                  <c:v>71</c:v>
                </c:pt>
                <c:pt idx="127">
                  <c:v>71</c:v>
                </c:pt>
                <c:pt idx="128">
                  <c:v>72</c:v>
                </c:pt>
                <c:pt idx="129">
                  <c:v>73</c:v>
                </c:pt>
                <c:pt idx="130">
                  <c:v>74</c:v>
                </c:pt>
                <c:pt idx="131">
                  <c:v>73</c:v>
                </c:pt>
                <c:pt idx="132">
                  <c:v>72</c:v>
                </c:pt>
                <c:pt idx="133">
                  <c:v>71</c:v>
                </c:pt>
                <c:pt idx="134">
                  <c:v>72</c:v>
                </c:pt>
                <c:pt idx="135">
                  <c:v>71</c:v>
                </c:pt>
                <c:pt idx="136">
                  <c:v>70</c:v>
                </c:pt>
                <c:pt idx="137">
                  <c:v>70</c:v>
                </c:pt>
                <c:pt idx="138">
                  <c:v>71</c:v>
                </c:pt>
                <c:pt idx="139">
                  <c:v>73</c:v>
                </c:pt>
                <c:pt idx="140">
                  <c:v>74</c:v>
                </c:pt>
                <c:pt idx="141">
                  <c:v>74</c:v>
                </c:pt>
                <c:pt idx="142">
                  <c:v>75</c:v>
                </c:pt>
                <c:pt idx="143">
                  <c:v>77</c:v>
                </c:pt>
                <c:pt idx="144">
                  <c:v>79</c:v>
                </c:pt>
                <c:pt idx="145">
                  <c:v>82</c:v>
                </c:pt>
                <c:pt idx="146">
                  <c:v>84</c:v>
                </c:pt>
                <c:pt idx="147">
                  <c:v>87</c:v>
                </c:pt>
                <c:pt idx="148">
                  <c:v>92</c:v>
                </c:pt>
                <c:pt idx="149">
                  <c:v>97</c:v>
                </c:pt>
                <c:pt idx="150">
                  <c:v>101</c:v>
                </c:pt>
                <c:pt idx="151">
                  <c:v>104</c:v>
                </c:pt>
                <c:pt idx="152">
                  <c:v>107</c:v>
                </c:pt>
                <c:pt idx="153">
                  <c:v>111</c:v>
                </c:pt>
                <c:pt idx="154">
                  <c:v>113</c:v>
                </c:pt>
                <c:pt idx="155">
                  <c:v>114</c:v>
                </c:pt>
                <c:pt idx="156">
                  <c:v>114</c:v>
                </c:pt>
                <c:pt idx="157">
                  <c:v>113</c:v>
                </c:pt>
                <c:pt idx="158">
                  <c:v>111</c:v>
                </c:pt>
                <c:pt idx="159">
                  <c:v>110</c:v>
                </c:pt>
                <c:pt idx="160">
                  <c:v>108</c:v>
                </c:pt>
                <c:pt idx="161">
                  <c:v>108</c:v>
                </c:pt>
                <c:pt idx="162">
                  <c:v>108</c:v>
                </c:pt>
                <c:pt idx="163">
                  <c:v>107</c:v>
                </c:pt>
                <c:pt idx="164">
                  <c:v>106</c:v>
                </c:pt>
                <c:pt idx="165">
                  <c:v>106</c:v>
                </c:pt>
                <c:pt idx="166">
                  <c:v>107</c:v>
                </c:pt>
                <c:pt idx="167">
                  <c:v>107</c:v>
                </c:pt>
                <c:pt idx="168">
                  <c:v>106</c:v>
                </c:pt>
                <c:pt idx="169">
                  <c:v>106</c:v>
                </c:pt>
                <c:pt idx="170">
                  <c:v>105</c:v>
                </c:pt>
                <c:pt idx="171">
                  <c:v>106</c:v>
                </c:pt>
                <c:pt idx="172">
                  <c:v>108</c:v>
                </c:pt>
                <c:pt idx="173">
                  <c:v>109</c:v>
                </c:pt>
                <c:pt idx="174">
                  <c:v>112</c:v>
                </c:pt>
                <c:pt idx="175">
                  <c:v>115</c:v>
                </c:pt>
                <c:pt idx="176">
                  <c:v>118</c:v>
                </c:pt>
                <c:pt idx="177">
                  <c:v>122</c:v>
                </c:pt>
                <c:pt idx="178">
                  <c:v>126</c:v>
                </c:pt>
                <c:pt idx="179">
                  <c:v>130</c:v>
                </c:pt>
                <c:pt idx="180">
                  <c:v>135</c:v>
                </c:pt>
                <c:pt idx="181">
                  <c:v>140</c:v>
                </c:pt>
                <c:pt idx="182">
                  <c:v>144</c:v>
                </c:pt>
                <c:pt idx="183">
                  <c:v>150</c:v>
                </c:pt>
                <c:pt idx="184">
                  <c:v>156</c:v>
                </c:pt>
                <c:pt idx="185">
                  <c:v>163</c:v>
                </c:pt>
                <c:pt idx="186">
                  <c:v>169</c:v>
                </c:pt>
                <c:pt idx="187">
                  <c:v>177</c:v>
                </c:pt>
                <c:pt idx="188">
                  <c:v>184</c:v>
                </c:pt>
                <c:pt idx="189">
                  <c:v>194</c:v>
                </c:pt>
                <c:pt idx="190">
                  <c:v>206</c:v>
                </c:pt>
                <c:pt idx="191">
                  <c:v>217</c:v>
                </c:pt>
                <c:pt idx="192">
                  <c:v>229</c:v>
                </c:pt>
                <c:pt idx="193">
                  <c:v>240</c:v>
                </c:pt>
                <c:pt idx="194">
                  <c:v>255</c:v>
                </c:pt>
                <c:pt idx="195">
                  <c:v>265</c:v>
                </c:pt>
                <c:pt idx="196">
                  <c:v>277</c:v>
                </c:pt>
                <c:pt idx="197">
                  <c:v>289</c:v>
                </c:pt>
                <c:pt idx="198">
                  <c:v>306</c:v>
                </c:pt>
                <c:pt idx="199">
                  <c:v>325</c:v>
                </c:pt>
                <c:pt idx="200">
                  <c:v>357</c:v>
                </c:pt>
                <c:pt idx="201">
                  <c:v>387</c:v>
                </c:pt>
                <c:pt idx="202">
                  <c:v>420</c:v>
                </c:pt>
                <c:pt idx="203">
                  <c:v>452</c:v>
                </c:pt>
                <c:pt idx="204">
                  <c:v>491</c:v>
                </c:pt>
                <c:pt idx="205">
                  <c:v>529</c:v>
                </c:pt>
                <c:pt idx="206">
                  <c:v>574</c:v>
                </c:pt>
                <c:pt idx="207">
                  <c:v>613</c:v>
                </c:pt>
                <c:pt idx="208">
                  <c:v>656</c:v>
                </c:pt>
                <c:pt idx="209">
                  <c:v>697</c:v>
                </c:pt>
                <c:pt idx="210">
                  <c:v>738</c:v>
                </c:pt>
                <c:pt idx="211">
                  <c:v>772</c:v>
                </c:pt>
                <c:pt idx="212">
                  <c:v>823</c:v>
                </c:pt>
                <c:pt idx="213">
                  <c:v>874</c:v>
                </c:pt>
                <c:pt idx="214">
                  <c:v>930</c:v>
                </c:pt>
                <c:pt idx="215">
                  <c:v>989</c:v>
                </c:pt>
                <c:pt idx="216">
                  <c:v>1048</c:v>
                </c:pt>
                <c:pt idx="217">
                  <c:v>1113</c:v>
                </c:pt>
                <c:pt idx="218">
                  <c:v>1205</c:v>
                </c:pt>
                <c:pt idx="219">
                  <c:v>1296</c:v>
                </c:pt>
                <c:pt idx="220">
                  <c:v>1399</c:v>
                </c:pt>
                <c:pt idx="221">
                  <c:v>1512</c:v>
                </c:pt>
                <c:pt idx="222">
                  <c:v>1642</c:v>
                </c:pt>
                <c:pt idx="223">
                  <c:v>1779</c:v>
                </c:pt>
                <c:pt idx="224">
                  <c:v>1913</c:v>
                </c:pt>
                <c:pt idx="225">
                  <c:v>2069</c:v>
                </c:pt>
                <c:pt idx="226">
                  <c:v>2220</c:v>
                </c:pt>
                <c:pt idx="227">
                  <c:v>2392</c:v>
                </c:pt>
                <c:pt idx="228">
                  <c:v>2571</c:v>
                </c:pt>
                <c:pt idx="229">
                  <c:v>2757</c:v>
                </c:pt>
                <c:pt idx="230">
                  <c:v>2955</c:v>
                </c:pt>
                <c:pt idx="231">
                  <c:v>3168</c:v>
                </c:pt>
                <c:pt idx="232">
                  <c:v>3393</c:v>
                </c:pt>
                <c:pt idx="233">
                  <c:v>3645</c:v>
                </c:pt>
                <c:pt idx="234">
                  <c:v>3913</c:v>
                </c:pt>
                <c:pt idx="235">
                  <c:v>4184</c:v>
                </c:pt>
                <c:pt idx="236">
                  <c:v>4471</c:v>
                </c:pt>
                <c:pt idx="237">
                  <c:v>4730</c:v>
                </c:pt>
                <c:pt idx="238">
                  <c:v>5011</c:v>
                </c:pt>
                <c:pt idx="239">
                  <c:v>5303</c:v>
                </c:pt>
                <c:pt idx="240">
                  <c:v>5600</c:v>
                </c:pt>
                <c:pt idx="241">
                  <c:v>5844</c:v>
                </c:pt>
                <c:pt idx="242">
                  <c:v>6153</c:v>
                </c:pt>
                <c:pt idx="243">
                  <c:v>6468</c:v>
                </c:pt>
                <c:pt idx="244">
                  <c:v>6748</c:v>
                </c:pt>
                <c:pt idx="245">
                  <c:v>7002</c:v>
                </c:pt>
                <c:pt idx="246">
                  <c:v>7264</c:v>
                </c:pt>
                <c:pt idx="247">
                  <c:v>7493</c:v>
                </c:pt>
                <c:pt idx="248">
                  <c:v>7727</c:v>
                </c:pt>
                <c:pt idx="249">
                  <c:v>7862</c:v>
                </c:pt>
                <c:pt idx="250">
                  <c:v>7931</c:v>
                </c:pt>
                <c:pt idx="251">
                  <c:v>7956</c:v>
                </c:pt>
                <c:pt idx="252">
                  <c:v>7959</c:v>
                </c:pt>
                <c:pt idx="253">
                  <c:v>7922</c:v>
                </c:pt>
                <c:pt idx="254">
                  <c:v>7844</c:v>
                </c:pt>
                <c:pt idx="255">
                  <c:v>7722</c:v>
                </c:pt>
                <c:pt idx="256">
                  <c:v>7576</c:v>
                </c:pt>
                <c:pt idx="257">
                  <c:v>7429</c:v>
                </c:pt>
                <c:pt idx="258">
                  <c:v>7296</c:v>
                </c:pt>
                <c:pt idx="259">
                  <c:v>7144</c:v>
                </c:pt>
                <c:pt idx="260">
                  <c:v>6984</c:v>
                </c:pt>
                <c:pt idx="261">
                  <c:v>6783</c:v>
                </c:pt>
                <c:pt idx="262">
                  <c:v>6670</c:v>
                </c:pt>
                <c:pt idx="263">
                  <c:v>6546</c:v>
                </c:pt>
                <c:pt idx="264">
                  <c:v>6399</c:v>
                </c:pt>
                <c:pt idx="265">
                  <c:v>6235</c:v>
                </c:pt>
                <c:pt idx="266">
                  <c:v>6086</c:v>
                </c:pt>
                <c:pt idx="267">
                  <c:v>5953</c:v>
                </c:pt>
                <c:pt idx="268">
                  <c:v>5863</c:v>
                </c:pt>
                <c:pt idx="269">
                  <c:v>5686</c:v>
                </c:pt>
                <c:pt idx="270">
                  <c:v>5521</c:v>
                </c:pt>
                <c:pt idx="271">
                  <c:v>5361</c:v>
                </c:pt>
                <c:pt idx="272">
                  <c:v>5226</c:v>
                </c:pt>
                <c:pt idx="273">
                  <c:v>5107</c:v>
                </c:pt>
                <c:pt idx="274">
                  <c:v>4981</c:v>
                </c:pt>
                <c:pt idx="275">
                  <c:v>4854</c:v>
                </c:pt>
                <c:pt idx="276">
                  <c:v>4744</c:v>
                </c:pt>
                <c:pt idx="277">
                  <c:v>4653</c:v>
                </c:pt>
                <c:pt idx="278">
                  <c:v>4583</c:v>
                </c:pt>
                <c:pt idx="279">
                  <c:v>4530</c:v>
                </c:pt>
                <c:pt idx="280">
                  <c:v>4474</c:v>
                </c:pt>
                <c:pt idx="281">
                  <c:v>4427</c:v>
                </c:pt>
                <c:pt idx="282">
                  <c:v>4390</c:v>
                </c:pt>
                <c:pt idx="283">
                  <c:v>4376</c:v>
                </c:pt>
                <c:pt idx="284">
                  <c:v>4380</c:v>
                </c:pt>
                <c:pt idx="285">
                  <c:v>4388</c:v>
                </c:pt>
                <c:pt idx="286">
                  <c:v>4417</c:v>
                </c:pt>
                <c:pt idx="287">
                  <c:v>4454</c:v>
                </c:pt>
                <c:pt idx="288">
                  <c:v>4491</c:v>
                </c:pt>
                <c:pt idx="289">
                  <c:v>4540</c:v>
                </c:pt>
                <c:pt idx="290">
                  <c:v>4576</c:v>
                </c:pt>
                <c:pt idx="291">
                  <c:v>4608</c:v>
                </c:pt>
                <c:pt idx="292">
                  <c:v>4643</c:v>
                </c:pt>
                <c:pt idx="293">
                  <c:v>4667</c:v>
                </c:pt>
                <c:pt idx="294">
                  <c:v>4691</c:v>
                </c:pt>
                <c:pt idx="295">
                  <c:v>4718</c:v>
                </c:pt>
                <c:pt idx="296">
                  <c:v>4745</c:v>
                </c:pt>
                <c:pt idx="297">
                  <c:v>4782</c:v>
                </c:pt>
                <c:pt idx="298">
                  <c:v>4715</c:v>
                </c:pt>
                <c:pt idx="299">
                  <c:v>4659</c:v>
                </c:pt>
                <c:pt idx="300">
                  <c:v>4683</c:v>
                </c:pt>
                <c:pt idx="301">
                  <c:v>4738</c:v>
                </c:pt>
                <c:pt idx="302">
                  <c:v>4847</c:v>
                </c:pt>
                <c:pt idx="303">
                  <c:v>4996</c:v>
                </c:pt>
                <c:pt idx="304">
                  <c:v>5163</c:v>
                </c:pt>
                <c:pt idx="305">
                  <c:v>5427</c:v>
                </c:pt>
                <c:pt idx="306">
                  <c:v>5610</c:v>
                </c:pt>
                <c:pt idx="307">
                  <c:v>5798</c:v>
                </c:pt>
                <c:pt idx="308">
                  <c:v>5986</c:v>
                </c:pt>
                <c:pt idx="309">
                  <c:v>6200</c:v>
                </c:pt>
                <c:pt idx="310">
                  <c:v>6404</c:v>
                </c:pt>
                <c:pt idx="311">
                  <c:v>6584</c:v>
                </c:pt>
                <c:pt idx="312">
                  <c:v>6781</c:v>
                </c:pt>
                <c:pt idx="313">
                  <c:v>7020</c:v>
                </c:pt>
                <c:pt idx="314">
                  <c:v>7133</c:v>
                </c:pt>
                <c:pt idx="315">
                  <c:v>7216</c:v>
                </c:pt>
                <c:pt idx="316">
                  <c:v>7242</c:v>
                </c:pt>
                <c:pt idx="317">
                  <c:v>7250</c:v>
                </c:pt>
                <c:pt idx="318">
                  <c:v>7236</c:v>
                </c:pt>
                <c:pt idx="319">
                  <c:v>7188</c:v>
                </c:pt>
                <c:pt idx="320">
                  <c:v>7159</c:v>
                </c:pt>
                <c:pt idx="321">
                  <c:v>7123</c:v>
                </c:pt>
                <c:pt idx="322">
                  <c:v>7068</c:v>
                </c:pt>
                <c:pt idx="323">
                  <c:v>7003</c:v>
                </c:pt>
                <c:pt idx="324">
                  <c:v>6892</c:v>
                </c:pt>
                <c:pt idx="325">
                  <c:v>6781</c:v>
                </c:pt>
                <c:pt idx="326">
                  <c:v>6664</c:v>
                </c:pt>
                <c:pt idx="327">
                  <c:v>6556</c:v>
                </c:pt>
                <c:pt idx="328">
                  <c:v>6464</c:v>
                </c:pt>
                <c:pt idx="329">
                  <c:v>6381</c:v>
                </c:pt>
                <c:pt idx="330">
                  <c:v>6291</c:v>
                </c:pt>
                <c:pt idx="331">
                  <c:v>6236</c:v>
                </c:pt>
                <c:pt idx="332">
                  <c:v>6183</c:v>
                </c:pt>
                <c:pt idx="333">
                  <c:v>6130</c:v>
                </c:pt>
                <c:pt idx="334">
                  <c:v>6071</c:v>
                </c:pt>
                <c:pt idx="335">
                  <c:v>6020</c:v>
                </c:pt>
                <c:pt idx="336">
                  <c:v>5970</c:v>
                </c:pt>
                <c:pt idx="337">
                  <c:v>5936</c:v>
                </c:pt>
                <c:pt idx="338">
                  <c:v>5891</c:v>
                </c:pt>
                <c:pt idx="339">
                  <c:v>5862</c:v>
                </c:pt>
                <c:pt idx="340">
                  <c:v>5856</c:v>
                </c:pt>
                <c:pt idx="341">
                  <c:v>5857</c:v>
                </c:pt>
                <c:pt idx="342">
                  <c:v>5875</c:v>
                </c:pt>
                <c:pt idx="343">
                  <c:v>5907</c:v>
                </c:pt>
                <c:pt idx="344">
                  <c:v>5924</c:v>
                </c:pt>
                <c:pt idx="345">
                  <c:v>5948</c:v>
                </c:pt>
                <c:pt idx="346">
                  <c:v>5965</c:v>
                </c:pt>
                <c:pt idx="347">
                  <c:v>5974</c:v>
                </c:pt>
                <c:pt idx="348">
                  <c:v>5974</c:v>
                </c:pt>
                <c:pt idx="349">
                  <c:v>5979</c:v>
                </c:pt>
                <c:pt idx="350">
                  <c:v>5993</c:v>
                </c:pt>
                <c:pt idx="351">
                  <c:v>6014</c:v>
                </c:pt>
                <c:pt idx="352">
                  <c:v>6052</c:v>
                </c:pt>
                <c:pt idx="353">
                  <c:v>6111</c:v>
                </c:pt>
                <c:pt idx="354">
                  <c:v>6189</c:v>
                </c:pt>
                <c:pt idx="355">
                  <c:v>6277</c:v>
                </c:pt>
                <c:pt idx="356">
                  <c:v>6351</c:v>
                </c:pt>
                <c:pt idx="357">
                  <c:v>6425</c:v>
                </c:pt>
                <c:pt idx="358">
                  <c:v>6527</c:v>
                </c:pt>
                <c:pt idx="359">
                  <c:v>6630</c:v>
                </c:pt>
                <c:pt idx="360">
                  <c:v>6733</c:v>
                </c:pt>
                <c:pt idx="361">
                  <c:v>6854</c:v>
                </c:pt>
                <c:pt idx="362">
                  <c:v>6989</c:v>
                </c:pt>
                <c:pt idx="363">
                  <c:v>7137</c:v>
                </c:pt>
                <c:pt idx="364">
                  <c:v>7294</c:v>
                </c:pt>
                <c:pt idx="365">
                  <c:v>7468</c:v>
                </c:pt>
                <c:pt idx="366">
                  <c:v>7664</c:v>
                </c:pt>
                <c:pt idx="367">
                  <c:v>7839</c:v>
                </c:pt>
                <c:pt idx="368">
                  <c:v>7982</c:v>
                </c:pt>
                <c:pt idx="369">
                  <c:v>8121</c:v>
                </c:pt>
                <c:pt idx="370">
                  <c:v>8254</c:v>
                </c:pt>
                <c:pt idx="371">
                  <c:v>8381</c:v>
                </c:pt>
                <c:pt idx="372">
                  <c:v>8488</c:v>
                </c:pt>
                <c:pt idx="373">
                  <c:v>8564</c:v>
                </c:pt>
                <c:pt idx="374">
                  <c:v>8650</c:v>
                </c:pt>
                <c:pt idx="375">
                  <c:v>8732</c:v>
                </c:pt>
                <c:pt idx="376">
                  <c:v>8799</c:v>
                </c:pt>
                <c:pt idx="377">
                  <c:v>8858</c:v>
                </c:pt>
                <c:pt idx="378">
                  <c:v>8917</c:v>
                </c:pt>
                <c:pt idx="379">
                  <c:v>8982</c:v>
                </c:pt>
                <c:pt idx="380">
                  <c:v>9034</c:v>
                </c:pt>
                <c:pt idx="381">
                  <c:v>9057</c:v>
                </c:pt>
                <c:pt idx="382">
                  <c:v>9056</c:v>
                </c:pt>
                <c:pt idx="383">
                  <c:v>9033</c:v>
                </c:pt>
                <c:pt idx="384">
                  <c:v>8984</c:v>
                </c:pt>
                <c:pt idx="385">
                  <c:v>8921</c:v>
                </c:pt>
                <c:pt idx="386">
                  <c:v>8846</c:v>
                </c:pt>
                <c:pt idx="387">
                  <c:v>8742</c:v>
                </c:pt>
                <c:pt idx="388">
                  <c:v>8616</c:v>
                </c:pt>
                <c:pt idx="389">
                  <c:v>8496</c:v>
                </c:pt>
                <c:pt idx="390">
                  <c:v>8386</c:v>
                </c:pt>
                <c:pt idx="391">
                  <c:v>8283</c:v>
                </c:pt>
                <c:pt idx="392">
                  <c:v>8171</c:v>
                </c:pt>
                <c:pt idx="393">
                  <c:v>8044</c:v>
                </c:pt>
                <c:pt idx="394">
                  <c:v>7928</c:v>
                </c:pt>
                <c:pt idx="395">
                  <c:v>7811</c:v>
                </c:pt>
                <c:pt idx="396">
                  <c:v>7674</c:v>
                </c:pt>
                <c:pt idx="397">
                  <c:v>7437</c:v>
                </c:pt>
                <c:pt idx="398">
                  <c:v>7252</c:v>
                </c:pt>
                <c:pt idx="399">
                  <c:v>7074</c:v>
                </c:pt>
                <c:pt idx="400">
                  <c:v>6827</c:v>
                </c:pt>
                <c:pt idx="401">
                  <c:v>6717</c:v>
                </c:pt>
                <c:pt idx="402">
                  <c:v>6601</c:v>
                </c:pt>
                <c:pt idx="403">
                  <c:v>6462</c:v>
                </c:pt>
                <c:pt idx="404">
                  <c:v>6396</c:v>
                </c:pt>
                <c:pt idx="405">
                  <c:v>6262</c:v>
                </c:pt>
                <c:pt idx="406">
                  <c:v>6107</c:v>
                </c:pt>
                <c:pt idx="407">
                  <c:v>5985</c:v>
                </c:pt>
                <c:pt idx="408">
                  <c:v>5722</c:v>
                </c:pt>
                <c:pt idx="409">
                  <c:v>5467</c:v>
                </c:pt>
                <c:pt idx="410">
                  <c:v>5243</c:v>
                </c:pt>
                <c:pt idx="411">
                  <c:v>5028</c:v>
                </c:pt>
                <c:pt idx="412">
                  <c:v>4848</c:v>
                </c:pt>
                <c:pt idx="413">
                  <c:v>4676</c:v>
                </c:pt>
                <c:pt idx="414">
                  <c:v>4501</c:v>
                </c:pt>
                <c:pt idx="415">
                  <c:v>4346</c:v>
                </c:pt>
                <c:pt idx="416">
                  <c:v>4212</c:v>
                </c:pt>
                <c:pt idx="417">
                  <c:v>4082</c:v>
                </c:pt>
                <c:pt idx="418">
                  <c:v>3956</c:v>
                </c:pt>
                <c:pt idx="419">
                  <c:v>3836</c:v>
                </c:pt>
                <c:pt idx="420">
                  <c:v>3714</c:v>
                </c:pt>
                <c:pt idx="421">
                  <c:v>3575</c:v>
                </c:pt>
                <c:pt idx="422">
                  <c:v>3435</c:v>
                </c:pt>
                <c:pt idx="423">
                  <c:v>3296</c:v>
                </c:pt>
                <c:pt idx="424">
                  <c:v>3166</c:v>
                </c:pt>
                <c:pt idx="425">
                  <c:v>3045</c:v>
                </c:pt>
                <c:pt idx="426">
                  <c:v>2942</c:v>
                </c:pt>
                <c:pt idx="427">
                  <c:v>2845</c:v>
                </c:pt>
                <c:pt idx="428">
                  <c:v>2753</c:v>
                </c:pt>
                <c:pt idx="429">
                  <c:v>2663</c:v>
                </c:pt>
                <c:pt idx="430">
                  <c:v>2571</c:v>
                </c:pt>
                <c:pt idx="431">
                  <c:v>2483</c:v>
                </c:pt>
                <c:pt idx="432">
                  <c:v>2405</c:v>
                </c:pt>
                <c:pt idx="433">
                  <c:v>2323</c:v>
                </c:pt>
                <c:pt idx="434">
                  <c:v>2234</c:v>
                </c:pt>
                <c:pt idx="435">
                  <c:v>2135</c:v>
                </c:pt>
                <c:pt idx="436">
                  <c:v>2036</c:v>
                </c:pt>
                <c:pt idx="437">
                  <c:v>1946</c:v>
                </c:pt>
                <c:pt idx="438">
                  <c:v>1860</c:v>
                </c:pt>
                <c:pt idx="439">
                  <c:v>1775</c:v>
                </c:pt>
                <c:pt idx="440">
                  <c:v>1696</c:v>
                </c:pt>
                <c:pt idx="441">
                  <c:v>1618</c:v>
                </c:pt>
                <c:pt idx="442">
                  <c:v>1534</c:v>
                </c:pt>
                <c:pt idx="443">
                  <c:v>1452</c:v>
                </c:pt>
                <c:pt idx="444">
                  <c:v>1371</c:v>
                </c:pt>
                <c:pt idx="445">
                  <c:v>1290</c:v>
                </c:pt>
                <c:pt idx="446">
                  <c:v>1216</c:v>
                </c:pt>
                <c:pt idx="447">
                  <c:v>1150</c:v>
                </c:pt>
                <c:pt idx="448">
                  <c:v>1084</c:v>
                </c:pt>
                <c:pt idx="449">
                  <c:v>1010</c:v>
                </c:pt>
                <c:pt idx="450">
                  <c:v>943</c:v>
                </c:pt>
                <c:pt idx="451">
                  <c:v>887</c:v>
                </c:pt>
                <c:pt idx="452">
                  <c:v>831</c:v>
                </c:pt>
                <c:pt idx="453">
                  <c:v>774</c:v>
                </c:pt>
                <c:pt idx="454">
                  <c:v>724</c:v>
                </c:pt>
                <c:pt idx="455">
                  <c:v>676</c:v>
                </c:pt>
                <c:pt idx="456">
                  <c:v>629</c:v>
                </c:pt>
                <c:pt idx="457">
                  <c:v>584</c:v>
                </c:pt>
                <c:pt idx="458">
                  <c:v>538</c:v>
                </c:pt>
                <c:pt idx="459">
                  <c:v>498</c:v>
                </c:pt>
                <c:pt idx="460">
                  <c:v>462</c:v>
                </c:pt>
                <c:pt idx="461">
                  <c:v>431</c:v>
                </c:pt>
                <c:pt idx="462">
                  <c:v>401</c:v>
                </c:pt>
                <c:pt idx="463">
                  <c:v>365</c:v>
                </c:pt>
                <c:pt idx="464">
                  <c:v>337</c:v>
                </c:pt>
                <c:pt idx="465">
                  <c:v>311</c:v>
                </c:pt>
                <c:pt idx="466">
                  <c:v>289</c:v>
                </c:pt>
                <c:pt idx="467">
                  <c:v>263</c:v>
                </c:pt>
                <c:pt idx="468">
                  <c:v>243</c:v>
                </c:pt>
                <c:pt idx="469">
                  <c:v>222</c:v>
                </c:pt>
                <c:pt idx="470">
                  <c:v>204</c:v>
                </c:pt>
                <c:pt idx="471">
                  <c:v>183</c:v>
                </c:pt>
                <c:pt idx="472">
                  <c:v>164</c:v>
                </c:pt>
                <c:pt idx="473">
                  <c:v>148</c:v>
                </c:pt>
                <c:pt idx="474">
                  <c:v>138</c:v>
                </c:pt>
                <c:pt idx="475">
                  <c:v>127</c:v>
                </c:pt>
                <c:pt idx="476">
                  <c:v>118</c:v>
                </c:pt>
                <c:pt idx="477">
                  <c:v>106</c:v>
                </c:pt>
                <c:pt idx="478">
                  <c:v>98</c:v>
                </c:pt>
                <c:pt idx="479">
                  <c:v>93</c:v>
                </c:pt>
                <c:pt idx="480">
                  <c:v>87</c:v>
                </c:pt>
                <c:pt idx="481">
                  <c:v>81</c:v>
                </c:pt>
                <c:pt idx="482">
                  <c:v>76</c:v>
                </c:pt>
                <c:pt idx="483">
                  <c:v>72</c:v>
                </c:pt>
                <c:pt idx="484">
                  <c:v>69</c:v>
                </c:pt>
                <c:pt idx="485">
                  <c:v>65</c:v>
                </c:pt>
                <c:pt idx="486">
                  <c:v>61</c:v>
                </c:pt>
                <c:pt idx="487">
                  <c:v>57</c:v>
                </c:pt>
                <c:pt idx="488">
                  <c:v>53</c:v>
                </c:pt>
                <c:pt idx="489">
                  <c:v>49</c:v>
                </c:pt>
                <c:pt idx="490">
                  <c:v>46</c:v>
                </c:pt>
                <c:pt idx="491">
                  <c:v>42</c:v>
                </c:pt>
                <c:pt idx="492">
                  <c:v>38</c:v>
                </c:pt>
                <c:pt idx="493">
                  <c:v>36</c:v>
                </c:pt>
                <c:pt idx="494">
                  <c:v>34</c:v>
                </c:pt>
                <c:pt idx="495">
                  <c:v>34</c:v>
                </c:pt>
                <c:pt idx="496">
                  <c:v>33</c:v>
                </c:pt>
                <c:pt idx="497">
                  <c:v>33</c:v>
                </c:pt>
                <c:pt idx="498">
                  <c:v>33</c:v>
                </c:pt>
                <c:pt idx="499">
                  <c:v>33</c:v>
                </c:pt>
                <c:pt idx="500">
                  <c:v>31</c:v>
                </c:pt>
                <c:pt idx="501">
                  <c:v>29</c:v>
                </c:pt>
                <c:pt idx="502">
                  <c:v>29</c:v>
                </c:pt>
                <c:pt idx="503">
                  <c:v>30</c:v>
                </c:pt>
                <c:pt idx="504">
                  <c:v>31</c:v>
                </c:pt>
                <c:pt idx="505">
                  <c:v>32</c:v>
                </c:pt>
                <c:pt idx="506">
                  <c:v>34</c:v>
                </c:pt>
                <c:pt idx="507">
                  <c:v>35</c:v>
                </c:pt>
                <c:pt idx="508">
                  <c:v>37</c:v>
                </c:pt>
                <c:pt idx="509">
                  <c:v>38</c:v>
                </c:pt>
                <c:pt idx="510">
                  <c:v>39</c:v>
                </c:pt>
                <c:pt idx="511">
                  <c:v>41</c:v>
                </c:pt>
                <c:pt idx="512">
                  <c:v>43</c:v>
                </c:pt>
                <c:pt idx="513">
                  <c:v>44</c:v>
                </c:pt>
                <c:pt idx="514">
                  <c:v>46</c:v>
                </c:pt>
                <c:pt idx="515">
                  <c:v>48</c:v>
                </c:pt>
                <c:pt idx="516">
                  <c:v>51</c:v>
                </c:pt>
                <c:pt idx="517">
                  <c:v>53</c:v>
                </c:pt>
                <c:pt idx="518">
                  <c:v>54</c:v>
                </c:pt>
                <c:pt idx="519">
                  <c:v>54</c:v>
                </c:pt>
                <c:pt idx="520">
                  <c:v>54</c:v>
                </c:pt>
                <c:pt idx="521">
                  <c:v>54</c:v>
                </c:pt>
                <c:pt idx="522">
                  <c:v>54</c:v>
                </c:pt>
                <c:pt idx="523">
                  <c:v>53</c:v>
                </c:pt>
                <c:pt idx="524">
                  <c:v>54</c:v>
                </c:pt>
                <c:pt idx="525">
                  <c:v>55</c:v>
                </c:pt>
                <c:pt idx="526">
                  <c:v>56</c:v>
                </c:pt>
                <c:pt idx="527">
                  <c:v>57</c:v>
                </c:pt>
                <c:pt idx="528">
                  <c:v>57</c:v>
                </c:pt>
                <c:pt idx="529">
                  <c:v>58</c:v>
                </c:pt>
                <c:pt idx="530">
                  <c:v>58</c:v>
                </c:pt>
                <c:pt idx="531">
                  <c:v>58</c:v>
                </c:pt>
                <c:pt idx="532">
                  <c:v>59</c:v>
                </c:pt>
                <c:pt idx="533">
                  <c:v>59</c:v>
                </c:pt>
                <c:pt idx="534">
                  <c:v>61</c:v>
                </c:pt>
                <c:pt idx="535">
                  <c:v>62</c:v>
                </c:pt>
                <c:pt idx="536">
                  <c:v>64</c:v>
                </c:pt>
                <c:pt idx="537">
                  <c:v>66</c:v>
                </c:pt>
                <c:pt idx="538">
                  <c:v>66</c:v>
                </c:pt>
                <c:pt idx="539">
                  <c:v>67</c:v>
                </c:pt>
                <c:pt idx="540">
                  <c:v>67</c:v>
                </c:pt>
                <c:pt idx="541">
                  <c:v>67</c:v>
                </c:pt>
                <c:pt idx="542">
                  <c:v>67</c:v>
                </c:pt>
                <c:pt idx="543">
                  <c:v>67</c:v>
                </c:pt>
                <c:pt idx="544">
                  <c:v>65</c:v>
                </c:pt>
                <c:pt idx="545">
                  <c:v>65</c:v>
                </c:pt>
                <c:pt idx="546">
                  <c:v>63</c:v>
                </c:pt>
                <c:pt idx="547">
                  <c:v>62</c:v>
                </c:pt>
                <c:pt idx="548">
                  <c:v>60</c:v>
                </c:pt>
                <c:pt idx="549">
                  <c:v>58</c:v>
                </c:pt>
                <c:pt idx="550">
                  <c:v>58</c:v>
                </c:pt>
                <c:pt idx="551">
                  <c:v>58</c:v>
                </c:pt>
                <c:pt idx="552">
                  <c:v>59</c:v>
                </c:pt>
                <c:pt idx="553">
                  <c:v>61</c:v>
                </c:pt>
                <c:pt idx="554">
                  <c:v>65</c:v>
                </c:pt>
                <c:pt idx="555">
                  <c:v>71</c:v>
                </c:pt>
                <c:pt idx="556">
                  <c:v>77</c:v>
                </c:pt>
                <c:pt idx="557">
                  <c:v>84</c:v>
                </c:pt>
                <c:pt idx="558">
                  <c:v>91</c:v>
                </c:pt>
                <c:pt idx="559">
                  <c:v>99</c:v>
                </c:pt>
                <c:pt idx="560">
                  <c:v>108</c:v>
                </c:pt>
                <c:pt idx="561">
                  <c:v>116</c:v>
                </c:pt>
                <c:pt idx="562">
                  <c:v>123</c:v>
                </c:pt>
                <c:pt idx="563">
                  <c:v>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C6-448C-BE25-46910E061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779122608"/>
        <c:axId val="1827373472"/>
      </c:barChart>
      <c:dateAx>
        <c:axId val="17791226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27373472"/>
        <c:crosses val="autoZero"/>
        <c:auto val="1"/>
        <c:lblOffset val="100"/>
        <c:baseTimeUnit val="days"/>
      </c:dateAx>
      <c:valAx>
        <c:axId val="1827373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79122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34665</c:v>
                </c:pt>
                <c:pt idx="1">
                  <c:v>113716</c:v>
                </c:pt>
                <c:pt idx="2">
                  <c:v>129669</c:v>
                </c:pt>
                <c:pt idx="3">
                  <c:v>131952</c:v>
                </c:pt>
                <c:pt idx="4">
                  <c:v>133501</c:v>
                </c:pt>
                <c:pt idx="5">
                  <c:v>132696</c:v>
                </c:pt>
                <c:pt idx="6">
                  <c:v>90100</c:v>
                </c:pt>
                <c:pt idx="7">
                  <c:v>95057</c:v>
                </c:pt>
                <c:pt idx="8">
                  <c:v>119110</c:v>
                </c:pt>
                <c:pt idx="9">
                  <c:v>147478</c:v>
                </c:pt>
                <c:pt idx="10">
                  <c:v>140053</c:v>
                </c:pt>
                <c:pt idx="11">
                  <c:v>96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EC-4729-BEF9-2F1F688F906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36321</c:v>
                </c:pt>
                <c:pt idx="1">
                  <c:v>117801</c:v>
                </c:pt>
                <c:pt idx="2">
                  <c:v>131734</c:v>
                </c:pt>
                <c:pt idx="3">
                  <c:v>137592</c:v>
                </c:pt>
                <c:pt idx="4">
                  <c:v>129155</c:v>
                </c:pt>
                <c:pt idx="5">
                  <c:v>131468</c:v>
                </c:pt>
                <c:pt idx="6">
                  <c:v>103260</c:v>
                </c:pt>
                <c:pt idx="7">
                  <c:v>97384</c:v>
                </c:pt>
                <c:pt idx="8">
                  <c:v>128702</c:v>
                </c:pt>
                <c:pt idx="9">
                  <c:v>144923</c:v>
                </c:pt>
                <c:pt idx="10">
                  <c:v>139780</c:v>
                </c:pt>
                <c:pt idx="11">
                  <c:v>104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EC-4729-BEF9-2F1F688F906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138879</c:v>
                </c:pt>
                <c:pt idx="1">
                  <c:v>123294</c:v>
                </c:pt>
                <c:pt idx="2">
                  <c:v>112530</c:v>
                </c:pt>
                <c:pt idx="3">
                  <c:v>101687</c:v>
                </c:pt>
                <c:pt idx="4">
                  <c:v>137264</c:v>
                </c:pt>
                <c:pt idx="5">
                  <c:v>165241</c:v>
                </c:pt>
                <c:pt idx="6">
                  <c:v>110580</c:v>
                </c:pt>
                <c:pt idx="7">
                  <c:v>99366</c:v>
                </c:pt>
                <c:pt idx="8">
                  <c:v>132780</c:v>
                </c:pt>
                <c:pt idx="9">
                  <c:v>118615</c:v>
                </c:pt>
                <c:pt idx="10">
                  <c:v>111966</c:v>
                </c:pt>
                <c:pt idx="11">
                  <c:v>102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EC-4729-BEF9-2F1F688F906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16950</c:v>
                </c:pt>
                <c:pt idx="1">
                  <c:v>114636</c:v>
                </c:pt>
                <c:pt idx="2">
                  <c:v>136445</c:v>
                </c:pt>
                <c:pt idx="3">
                  <c:v>130661</c:v>
                </c:pt>
                <c:pt idx="4">
                  <c:v>1368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A2-404D-930B-660626D2DA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čet vyšetření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201335987383635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77709</c:v>
                </c:pt>
                <c:pt idx="1">
                  <c:v>187997</c:v>
                </c:pt>
                <c:pt idx="2">
                  <c:v>191754</c:v>
                </c:pt>
                <c:pt idx="3">
                  <c:v>200943</c:v>
                </c:pt>
                <c:pt idx="4">
                  <c:v>202410</c:v>
                </c:pt>
                <c:pt idx="5">
                  <c:v>191043</c:v>
                </c:pt>
                <c:pt idx="6">
                  <c:v>116770</c:v>
                </c:pt>
                <c:pt idx="7">
                  <c:v>149660</c:v>
                </c:pt>
                <c:pt idx="8">
                  <c:v>177785</c:v>
                </c:pt>
                <c:pt idx="9">
                  <c:v>185943</c:v>
                </c:pt>
                <c:pt idx="10">
                  <c:v>189756</c:v>
                </c:pt>
                <c:pt idx="11">
                  <c:v>142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8C-4796-B902-B39C225467A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81983</c:v>
                </c:pt>
                <c:pt idx="1">
                  <c:v>174039</c:v>
                </c:pt>
                <c:pt idx="2">
                  <c:v>211933</c:v>
                </c:pt>
                <c:pt idx="3">
                  <c:v>173654</c:v>
                </c:pt>
                <c:pt idx="4">
                  <c:v>201692</c:v>
                </c:pt>
                <c:pt idx="5">
                  <c:v>192273</c:v>
                </c:pt>
                <c:pt idx="6">
                  <c:v>120481</c:v>
                </c:pt>
                <c:pt idx="7">
                  <c:v>153290</c:v>
                </c:pt>
                <c:pt idx="8">
                  <c:v>170589</c:v>
                </c:pt>
                <c:pt idx="9">
                  <c:v>204421</c:v>
                </c:pt>
                <c:pt idx="10">
                  <c:v>199872</c:v>
                </c:pt>
                <c:pt idx="11">
                  <c:v>140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8C-4796-B902-B39C225467A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200361</c:v>
                </c:pt>
                <c:pt idx="1">
                  <c:v>173146</c:v>
                </c:pt>
                <c:pt idx="2">
                  <c:v>189606</c:v>
                </c:pt>
                <c:pt idx="3">
                  <c:v>199111</c:v>
                </c:pt>
                <c:pt idx="4">
                  <c:v>206729</c:v>
                </c:pt>
                <c:pt idx="5">
                  <c:v>192063</c:v>
                </c:pt>
                <c:pt idx="6">
                  <c:v>132783</c:v>
                </c:pt>
                <c:pt idx="7">
                  <c:v>151699</c:v>
                </c:pt>
                <c:pt idx="8">
                  <c:v>172038</c:v>
                </c:pt>
                <c:pt idx="9">
                  <c:v>216503</c:v>
                </c:pt>
                <c:pt idx="10">
                  <c:v>202237</c:v>
                </c:pt>
                <c:pt idx="11">
                  <c:v>134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8C-4796-B902-B39C225467A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DBB7FF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97742</c:v>
                </c:pt>
                <c:pt idx="1">
                  <c:v>179904</c:v>
                </c:pt>
                <c:pt idx="2">
                  <c:v>206327</c:v>
                </c:pt>
                <c:pt idx="3">
                  <c:v>201768</c:v>
                </c:pt>
                <c:pt idx="4">
                  <c:v>206876</c:v>
                </c:pt>
                <c:pt idx="5">
                  <c:v>185245</c:v>
                </c:pt>
                <c:pt idx="6">
                  <c:v>148810</c:v>
                </c:pt>
                <c:pt idx="7">
                  <c:v>149449</c:v>
                </c:pt>
                <c:pt idx="8">
                  <c:v>192469</c:v>
                </c:pt>
                <c:pt idx="9">
                  <c:v>210667</c:v>
                </c:pt>
                <c:pt idx="10">
                  <c:v>200801</c:v>
                </c:pt>
                <c:pt idx="11">
                  <c:v>142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8C-4796-B902-B39C225467A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198701</c:v>
                </c:pt>
                <c:pt idx="1">
                  <c:v>183894</c:v>
                </c:pt>
                <c:pt idx="2">
                  <c:v>111002</c:v>
                </c:pt>
                <c:pt idx="3">
                  <c:v>64415</c:v>
                </c:pt>
                <c:pt idx="4">
                  <c:v>161103</c:v>
                </c:pt>
                <c:pt idx="5">
                  <c:v>227693</c:v>
                </c:pt>
                <c:pt idx="6">
                  <c:v>167023</c:v>
                </c:pt>
                <c:pt idx="7">
                  <c:v>154568</c:v>
                </c:pt>
                <c:pt idx="8">
                  <c:v>200072</c:v>
                </c:pt>
                <c:pt idx="9">
                  <c:v>163778</c:v>
                </c:pt>
                <c:pt idx="10">
                  <c:v>137500</c:v>
                </c:pt>
                <c:pt idx="11">
                  <c:v>126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8C-4796-B902-B39C225467A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tx1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148837</c:v>
                </c:pt>
                <c:pt idx="1">
                  <c:v>160250</c:v>
                </c:pt>
                <c:pt idx="2">
                  <c:v>179417</c:v>
                </c:pt>
                <c:pt idx="3">
                  <c:v>186150</c:v>
                </c:pt>
                <c:pt idx="4">
                  <c:v>2179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F8C-4796-B902-B39C225467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 preventivních prohlídek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176681759292714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11288</c:v>
                </c:pt>
                <c:pt idx="1">
                  <c:v>102027</c:v>
                </c:pt>
                <c:pt idx="2">
                  <c:v>110382</c:v>
                </c:pt>
                <c:pt idx="3">
                  <c:v>105577</c:v>
                </c:pt>
                <c:pt idx="4">
                  <c:v>110691</c:v>
                </c:pt>
                <c:pt idx="5">
                  <c:v>113759</c:v>
                </c:pt>
                <c:pt idx="6">
                  <c:v>86920</c:v>
                </c:pt>
                <c:pt idx="7">
                  <c:v>110926</c:v>
                </c:pt>
                <c:pt idx="8">
                  <c:v>113058</c:v>
                </c:pt>
                <c:pt idx="9">
                  <c:v>109805</c:v>
                </c:pt>
                <c:pt idx="10">
                  <c:v>112077</c:v>
                </c:pt>
                <c:pt idx="11">
                  <c:v>94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8C-4796-B902-B39C225467A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14736</c:v>
                </c:pt>
                <c:pt idx="1">
                  <c:v>99599</c:v>
                </c:pt>
                <c:pt idx="2">
                  <c:v>116078</c:v>
                </c:pt>
                <c:pt idx="3">
                  <c:v>101397</c:v>
                </c:pt>
                <c:pt idx="4">
                  <c:v>116117</c:v>
                </c:pt>
                <c:pt idx="5">
                  <c:v>115580</c:v>
                </c:pt>
                <c:pt idx="6">
                  <c:v>90582</c:v>
                </c:pt>
                <c:pt idx="7">
                  <c:v>111867</c:v>
                </c:pt>
                <c:pt idx="8">
                  <c:v>109689</c:v>
                </c:pt>
                <c:pt idx="9">
                  <c:v>119034</c:v>
                </c:pt>
                <c:pt idx="10">
                  <c:v>112426</c:v>
                </c:pt>
                <c:pt idx="11">
                  <c:v>922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8C-4796-B902-B39C225467A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122724</c:v>
                </c:pt>
                <c:pt idx="1">
                  <c:v>98544</c:v>
                </c:pt>
                <c:pt idx="2">
                  <c:v>111565</c:v>
                </c:pt>
                <c:pt idx="3">
                  <c:v>110585</c:v>
                </c:pt>
                <c:pt idx="4">
                  <c:v>116285</c:v>
                </c:pt>
                <c:pt idx="5">
                  <c:v>110776</c:v>
                </c:pt>
                <c:pt idx="6">
                  <c:v>97023</c:v>
                </c:pt>
                <c:pt idx="7">
                  <c:v>109271</c:v>
                </c:pt>
                <c:pt idx="8">
                  <c:v>110370</c:v>
                </c:pt>
                <c:pt idx="9">
                  <c:v>122278</c:v>
                </c:pt>
                <c:pt idx="10">
                  <c:v>111062</c:v>
                </c:pt>
                <c:pt idx="11">
                  <c:v>90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8C-4796-B902-B39C225467A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DBB7FF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23628</c:v>
                </c:pt>
                <c:pt idx="1">
                  <c:v>100612</c:v>
                </c:pt>
                <c:pt idx="2">
                  <c:v>109371</c:v>
                </c:pt>
                <c:pt idx="3">
                  <c:v>111103</c:v>
                </c:pt>
                <c:pt idx="4">
                  <c:v>112185</c:v>
                </c:pt>
                <c:pt idx="5">
                  <c:v>107157</c:v>
                </c:pt>
                <c:pt idx="6">
                  <c:v>102620</c:v>
                </c:pt>
                <c:pt idx="7">
                  <c:v>104024</c:v>
                </c:pt>
                <c:pt idx="8">
                  <c:v>115705</c:v>
                </c:pt>
                <c:pt idx="9">
                  <c:v>117429</c:v>
                </c:pt>
                <c:pt idx="10">
                  <c:v>107426</c:v>
                </c:pt>
                <c:pt idx="11">
                  <c:v>91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8C-4796-B902-B39C225467A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119999</c:v>
                </c:pt>
                <c:pt idx="1">
                  <c:v>98896</c:v>
                </c:pt>
                <c:pt idx="2">
                  <c:v>94511</c:v>
                </c:pt>
                <c:pt idx="3">
                  <c:v>110795</c:v>
                </c:pt>
                <c:pt idx="4">
                  <c:v>110200</c:v>
                </c:pt>
                <c:pt idx="5">
                  <c:v>116867</c:v>
                </c:pt>
                <c:pt idx="6">
                  <c:v>99082</c:v>
                </c:pt>
                <c:pt idx="7">
                  <c:v>100065</c:v>
                </c:pt>
                <c:pt idx="8">
                  <c:v>114361</c:v>
                </c:pt>
                <c:pt idx="9">
                  <c:v>105940</c:v>
                </c:pt>
                <c:pt idx="10">
                  <c:v>111336</c:v>
                </c:pt>
                <c:pt idx="11">
                  <c:v>95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8C-4796-B902-B39C225467A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tx1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111981</c:v>
                </c:pt>
                <c:pt idx="1">
                  <c:v>99677</c:v>
                </c:pt>
                <c:pt idx="2">
                  <c:v>118550</c:v>
                </c:pt>
                <c:pt idx="3">
                  <c:v>108491</c:v>
                </c:pt>
                <c:pt idx="4">
                  <c:v>105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F8C-4796-B902-B39C225467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 preventivních prohlídek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176681759292714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52195</c:v>
                </c:pt>
                <c:pt idx="1">
                  <c:v>54593</c:v>
                </c:pt>
                <c:pt idx="2">
                  <c:v>54616</c:v>
                </c:pt>
                <c:pt idx="3">
                  <c:v>56264</c:v>
                </c:pt>
                <c:pt idx="4">
                  <c:v>62186</c:v>
                </c:pt>
                <c:pt idx="5">
                  <c:v>62867</c:v>
                </c:pt>
                <c:pt idx="6">
                  <c:v>30927</c:v>
                </c:pt>
                <c:pt idx="7">
                  <c:v>47705</c:v>
                </c:pt>
                <c:pt idx="8">
                  <c:v>59120</c:v>
                </c:pt>
                <c:pt idx="9">
                  <c:v>60220</c:v>
                </c:pt>
                <c:pt idx="10">
                  <c:v>56459</c:v>
                </c:pt>
                <c:pt idx="11">
                  <c:v>42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8C-4796-B902-B39C225467A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53751</c:v>
                </c:pt>
                <c:pt idx="1">
                  <c:v>52481</c:v>
                </c:pt>
                <c:pt idx="2">
                  <c:v>59704</c:v>
                </c:pt>
                <c:pt idx="3">
                  <c:v>52066</c:v>
                </c:pt>
                <c:pt idx="4">
                  <c:v>62642</c:v>
                </c:pt>
                <c:pt idx="5">
                  <c:v>67239</c:v>
                </c:pt>
                <c:pt idx="6">
                  <c:v>32890</c:v>
                </c:pt>
                <c:pt idx="7">
                  <c:v>47403</c:v>
                </c:pt>
                <c:pt idx="8">
                  <c:v>59308</c:v>
                </c:pt>
                <c:pt idx="9">
                  <c:v>65271</c:v>
                </c:pt>
                <c:pt idx="10">
                  <c:v>59192</c:v>
                </c:pt>
                <c:pt idx="11">
                  <c:v>42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8C-4796-B902-B39C225467A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58100</c:v>
                </c:pt>
                <c:pt idx="1">
                  <c:v>52068</c:v>
                </c:pt>
                <c:pt idx="2">
                  <c:v>55733</c:v>
                </c:pt>
                <c:pt idx="3">
                  <c:v>57446</c:v>
                </c:pt>
                <c:pt idx="4">
                  <c:v>62089</c:v>
                </c:pt>
                <c:pt idx="5">
                  <c:v>65778</c:v>
                </c:pt>
                <c:pt idx="6">
                  <c:v>36084</c:v>
                </c:pt>
                <c:pt idx="7">
                  <c:v>48945</c:v>
                </c:pt>
                <c:pt idx="8">
                  <c:v>59228</c:v>
                </c:pt>
                <c:pt idx="9">
                  <c:v>68216</c:v>
                </c:pt>
                <c:pt idx="10">
                  <c:v>58453</c:v>
                </c:pt>
                <c:pt idx="11">
                  <c:v>39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8C-4796-B902-B39C225467A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DBB7FF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57154</c:v>
                </c:pt>
                <c:pt idx="1">
                  <c:v>53920</c:v>
                </c:pt>
                <c:pt idx="2">
                  <c:v>57680</c:v>
                </c:pt>
                <c:pt idx="3">
                  <c:v>58709</c:v>
                </c:pt>
                <c:pt idx="4">
                  <c:v>61366</c:v>
                </c:pt>
                <c:pt idx="5">
                  <c:v>63384</c:v>
                </c:pt>
                <c:pt idx="6">
                  <c:v>40346</c:v>
                </c:pt>
                <c:pt idx="7">
                  <c:v>46735</c:v>
                </c:pt>
                <c:pt idx="8">
                  <c:v>63971</c:v>
                </c:pt>
                <c:pt idx="9">
                  <c:v>66760</c:v>
                </c:pt>
                <c:pt idx="10">
                  <c:v>59027</c:v>
                </c:pt>
                <c:pt idx="11">
                  <c:v>430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8C-4796-B902-B39C225467AC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56989</c:v>
                </c:pt>
                <c:pt idx="1">
                  <c:v>54043</c:v>
                </c:pt>
                <c:pt idx="2">
                  <c:v>40280</c:v>
                </c:pt>
                <c:pt idx="3">
                  <c:v>47891</c:v>
                </c:pt>
                <c:pt idx="4">
                  <c:v>68802</c:v>
                </c:pt>
                <c:pt idx="5">
                  <c:v>79894</c:v>
                </c:pt>
                <c:pt idx="6">
                  <c:v>42446</c:v>
                </c:pt>
                <c:pt idx="7">
                  <c:v>47045</c:v>
                </c:pt>
                <c:pt idx="8">
                  <c:v>60467</c:v>
                </c:pt>
                <c:pt idx="9">
                  <c:v>60892</c:v>
                </c:pt>
                <c:pt idx="10">
                  <c:v>61314</c:v>
                </c:pt>
                <c:pt idx="11">
                  <c:v>46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F8C-4796-B902-B39C225467AC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tx1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54721</c:v>
                </c:pt>
                <c:pt idx="1">
                  <c:v>58705</c:v>
                </c:pt>
                <c:pt idx="2">
                  <c:v>64664</c:v>
                </c:pt>
                <c:pt idx="3">
                  <c:v>58701</c:v>
                </c:pt>
                <c:pt idx="4">
                  <c:v>625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F8C-4796-B902-B39C225467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 preventivních prohlídek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176681759292714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023391812865534E-2"/>
          <c:y val="0.19819107507908995"/>
          <c:w val="0.90554880518428527"/>
          <c:h val="0.687715136298979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4E8F"/>
            </a:solidFill>
            <a:ln w="37968">
              <a:noFill/>
              <a:prstDash val="solid"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D64-47FB-9688-F58674DF9F1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DB9-43BA-B2E3-56DFC721488C}"/>
              </c:ext>
            </c:extLst>
          </c:dPt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63126</c:v>
                </c:pt>
                <c:pt idx="1">
                  <c:v>55458</c:v>
                </c:pt>
                <c:pt idx="2">
                  <c:v>58922</c:v>
                </c:pt>
                <c:pt idx="3">
                  <c:v>61247</c:v>
                </c:pt>
                <c:pt idx="4">
                  <c:v>62652</c:v>
                </c:pt>
                <c:pt idx="5">
                  <c:v>60456</c:v>
                </c:pt>
                <c:pt idx="6">
                  <c:v>50502</c:v>
                </c:pt>
                <c:pt idx="7">
                  <c:v>47709</c:v>
                </c:pt>
                <c:pt idx="8">
                  <c:v>60533</c:v>
                </c:pt>
                <c:pt idx="9">
                  <c:v>68235</c:v>
                </c:pt>
                <c:pt idx="10">
                  <c:v>67885</c:v>
                </c:pt>
                <c:pt idx="11">
                  <c:v>47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26-4F9C-9A58-0FAB0933863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65533</c:v>
                </c:pt>
                <c:pt idx="1">
                  <c:v>59881</c:v>
                </c:pt>
                <c:pt idx="2">
                  <c:v>32660</c:v>
                </c:pt>
                <c:pt idx="3">
                  <c:v>20928</c:v>
                </c:pt>
                <c:pt idx="4">
                  <c:v>54756</c:v>
                </c:pt>
                <c:pt idx="5">
                  <c:v>73753</c:v>
                </c:pt>
                <c:pt idx="6">
                  <c:v>57158</c:v>
                </c:pt>
                <c:pt idx="7">
                  <c:v>51864</c:v>
                </c:pt>
                <c:pt idx="8">
                  <c:v>64304</c:v>
                </c:pt>
                <c:pt idx="9">
                  <c:v>62023</c:v>
                </c:pt>
                <c:pt idx="10">
                  <c:v>60511</c:v>
                </c:pt>
                <c:pt idx="11">
                  <c:v>522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DB9-43BA-B2E3-56DFC721488C}"/>
            </c:ext>
          </c:extLst>
        </c:ser>
        <c:ser>
          <c:idx val="5"/>
          <c:order val="4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val>
            <c:numRef>
              <c:f>Sheet1!$D$2:$D$13</c:f>
              <c:numCache>
                <c:formatCode>General</c:formatCode>
                <c:ptCount val="12"/>
                <c:pt idx="0">
                  <c:v>56373</c:v>
                </c:pt>
                <c:pt idx="1">
                  <c:v>55462</c:v>
                </c:pt>
                <c:pt idx="2">
                  <c:v>61444</c:v>
                </c:pt>
                <c:pt idx="3">
                  <c:v>61351</c:v>
                </c:pt>
                <c:pt idx="4">
                  <c:v>67213</c:v>
                </c:pt>
                <c:pt idx="5">
                  <c:v>65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AF-4049-89AA-BFCE077FA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6773984"/>
        <c:axId val="326768496"/>
      </c:barChart>
      <c:lineChart>
        <c:grouping val="standard"/>
        <c:varyColors val="0"/>
        <c:ser>
          <c:idx val="1"/>
          <c:order val="2"/>
          <c:tx>
            <c:strRef>
              <c:f>Sheet1!$E$1</c:f>
              <c:strCache>
                <c:ptCount val="1"/>
                <c:pt idx="0">
                  <c:v>% změna 2020 vs. 2019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6773566445356705E-2"/>
                  <c:y val="1.07223485827081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4C1-4760-A9C7-1B941352C32C}"/>
                </c:ext>
              </c:extLst>
            </c:dLbl>
            <c:dLbl>
              <c:idx val="1"/>
              <c:layout>
                <c:manualLayout>
                  <c:x val="-2.5151421484352079E-2"/>
                  <c:y val="-7.148232388472161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4C1-4760-A9C7-1B941352C32C}"/>
                </c:ext>
              </c:extLst>
            </c:dLbl>
            <c:dLbl>
              <c:idx val="2"/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601-487B-AEC7-4AEA8A9EF204}"/>
                </c:ext>
              </c:extLst>
            </c:dLbl>
            <c:dLbl>
              <c:idx val="3"/>
              <c:layout>
                <c:manualLayout>
                  <c:x val="-3.80004700388549E-2"/>
                  <c:y val="-3.5741161942360483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601-487B-AEC7-4AEA8A9EF204}"/>
                </c:ext>
              </c:extLst>
            </c:dLbl>
            <c:dLbl>
              <c:idx val="4"/>
              <c:layout>
                <c:manualLayout>
                  <c:x val="-3.8000470038854844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601-487B-AEC7-4AEA8A9EF204}"/>
                </c:ext>
              </c:extLst>
            </c:dLbl>
            <c:dLbl>
              <c:idx val="5"/>
              <c:layout>
                <c:manualLayout>
                  <c:x val="-5.0343460456704056E-2"/>
                  <c:y val="-3.574116194236048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4C1-4760-A9C7-1B941352C32C}"/>
                </c:ext>
              </c:extLst>
            </c:dLbl>
            <c:dLbl>
              <c:idx val="6"/>
              <c:layout>
                <c:manualLayout>
                  <c:x val="-3.5744155807662083E-2"/>
                  <c:y val="-1.0722348582708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C1-4760-A9C7-1B941352C32C}"/>
                </c:ext>
              </c:extLst>
            </c:dLbl>
            <c:dLbl>
              <c:idx val="7"/>
              <c:layout>
                <c:manualLayout>
                  <c:x val="-3.0387373325805898E-2"/>
                  <c:y val="-3.574116194236015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C1-4760-A9C7-1B941352C32C}"/>
                </c:ext>
              </c:extLst>
            </c:dLbl>
            <c:dLbl>
              <c:idx val="8"/>
              <c:layout>
                <c:manualLayout>
                  <c:x val="-3.8498034266854345E-2"/>
                  <c:y val="-1.78705809711802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3198282314532625E-2"/>
                      <c:h val="4.37373322909296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94C1-4760-A9C7-1B941352C32C}"/>
                </c:ext>
              </c:extLst>
            </c:dLbl>
            <c:dLbl>
              <c:idx val="9"/>
              <c:layout>
                <c:manualLayout>
                  <c:x val="-3.2643687556998598E-2"/>
                  <c:y val="-3.5741161942360483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601-487B-AEC7-4AEA8A9EF204}"/>
                </c:ext>
              </c:extLst>
            </c:dLbl>
            <c:dLbl>
              <c:idx val="10"/>
              <c:layout>
                <c:manualLayout>
                  <c:x val="-4.1244759960864158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601-487B-AEC7-4AEA8A9EF204}"/>
                </c:ext>
              </c:extLst>
            </c:dLbl>
            <c:dLbl>
              <c:idx val="11"/>
              <c:layout>
                <c:manualLayout>
                  <c:x val="-3.5744155807662145E-2"/>
                  <c:y val="-3.2762353306995982E-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4C1-4760-A9C7-1B941352C32C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chemeClr val="accent6">
                        <a:lumMod val="25000"/>
                      </a:schemeClr>
                    </a:solidFill>
                    <a:latin typeface="+mj-lt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E$2:$E$13</c:f>
              <c:numCache>
                <c:formatCode>0.0%</c:formatCode>
                <c:ptCount val="12"/>
                <c:pt idx="0">
                  <c:v>3.8130089028292513E-2</c:v>
                </c:pt>
                <c:pt idx="1">
                  <c:v>7.9754048108478415E-2</c:v>
                </c:pt>
                <c:pt idx="2">
                  <c:v>-0.44570788500050917</c:v>
                </c:pt>
                <c:pt idx="3">
                  <c:v>-0.65830163110029871</c:v>
                </c:pt>
                <c:pt idx="4">
                  <c:v>-0.12602949626508331</c:v>
                </c:pt>
                <c:pt idx="5">
                  <c:v>0.21994508402805346</c:v>
                </c:pt>
                <c:pt idx="6">
                  <c:v>0.13179676052433575</c:v>
                </c:pt>
                <c:pt idx="7">
                  <c:v>8.7090486071810247E-2</c:v>
                </c:pt>
                <c:pt idx="8">
                  <c:v>6.2296598549551385E-2</c:v>
                </c:pt>
                <c:pt idx="9">
                  <c:v>-9.103832344104934E-2</c:v>
                </c:pt>
                <c:pt idx="10">
                  <c:v>-0.10862488031229289</c:v>
                </c:pt>
                <c:pt idx="11">
                  <c:v>0.10834199418838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DB9-43BA-B2E3-56DFC721488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% změna 2021 vs. 2019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0820754259088482E-2"/>
                  <c:y val="7.14823238847209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7AF-4049-89AA-BFCE077FAD09}"/>
                </c:ext>
              </c:extLst>
            </c:dLbl>
            <c:dLbl>
              <c:idx val="1"/>
              <c:layout>
                <c:manualLayout>
                  <c:x val="-2.7576464337079169E-2"/>
                  <c:y val="1.0722348582708145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7AF-4049-89AA-BFCE077FAD09}"/>
                </c:ext>
              </c:extLst>
            </c:dLbl>
            <c:dLbl>
              <c:idx val="2"/>
              <c:layout>
                <c:manualLayout>
                  <c:x val="-2.7576464337079169E-2"/>
                  <c:y val="1.4296464776944193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7AF-4049-89AA-BFCE077FAD09}"/>
                </c:ext>
              </c:extLst>
            </c:dLbl>
            <c:dLbl>
              <c:idx val="3"/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C6-415D-9F53-F096EBB492C4}"/>
                </c:ext>
              </c:extLst>
            </c:dLbl>
            <c:dLbl>
              <c:idx val="4"/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C6-415D-9F53-F096EBB492C4}"/>
                </c:ext>
              </c:extLst>
            </c:dLbl>
            <c:dLbl>
              <c:idx val="5"/>
              <c:layout>
                <c:manualLayout>
                  <c:x val="-1.1339285714285715E-2"/>
                  <c:y val="0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C6-415D-9F53-F096EBB492C4}"/>
                </c:ext>
              </c:extLst>
            </c:dLbl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rgbClr val="DA2B46"/>
                    </a:solidFill>
                    <a:latin typeface="+mj-lt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F$2:$F$13</c:f>
              <c:numCache>
                <c:formatCode>0.0%</c:formatCode>
                <c:ptCount val="12"/>
                <c:pt idx="0">
                  <c:v>-0.10697652314418782</c:v>
                </c:pt>
                <c:pt idx="1">
                  <c:v>7.212665440503585E-5</c:v>
                </c:pt>
                <c:pt idx="2">
                  <c:v>4.2802348867994944E-2</c:v>
                </c:pt>
                <c:pt idx="3">
                  <c:v>1.6980423530947863E-3</c:v>
                </c:pt>
                <c:pt idx="4">
                  <c:v>7.2798952946434348E-2</c:v>
                </c:pt>
                <c:pt idx="5">
                  <c:v>7.974394601032153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7AF-4049-89AA-BFCE077FA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9934696"/>
        <c:axId val="299933912"/>
      </c:lineChart>
      <c:catAx>
        <c:axId val="326773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68496"/>
        <c:crosses val="autoZero"/>
        <c:auto val="1"/>
        <c:lblAlgn val="ctr"/>
        <c:lblOffset val="240"/>
        <c:noMultiLvlLbl val="0"/>
      </c:catAx>
      <c:valAx>
        <c:axId val="32676849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73984"/>
        <c:crosses val="autoZero"/>
        <c:crossBetween val="between"/>
      </c:valAx>
      <c:valAx>
        <c:axId val="299933912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accent6">
                    <a:lumMod val="25000"/>
                  </a:schemeClr>
                </a:solidFill>
                <a:latin typeface="+mj-lt"/>
              </a:defRPr>
            </a:pPr>
            <a:endParaRPr lang="cs-CZ"/>
          </a:p>
        </c:txPr>
        <c:crossAx val="299934696"/>
        <c:crosses val="max"/>
        <c:crossBetween val="between"/>
      </c:valAx>
      <c:catAx>
        <c:axId val="2999346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9933912"/>
        <c:crosses val="autoZero"/>
        <c:auto val="1"/>
        <c:lblAlgn val="ctr"/>
        <c:lblOffset val="100"/>
        <c:noMultiLvlLbl val="0"/>
      </c:catAx>
      <c:spPr>
        <a:noFill/>
        <a:ln w="25396">
          <a:noFill/>
        </a:ln>
      </c:spPr>
    </c:plotArea>
    <c:legend>
      <c:legendPos val="t"/>
      <c:overlay val="0"/>
      <c:txPr>
        <a:bodyPr/>
        <a:lstStyle/>
        <a:p>
          <a:pPr>
            <a:defRPr sz="1200">
              <a:solidFill>
                <a:schemeClr val="accent6">
                  <a:lumMod val="25000"/>
                </a:schemeClr>
              </a:solidFill>
              <a:latin typeface="+mj-lt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44" b="1" i="0" u="none" strike="noStrike" baseline="0">
          <a:solidFill>
            <a:schemeClr val="tx1"/>
          </a:solidFill>
          <a:latin typeface="Georgia"/>
          <a:ea typeface="Georgia"/>
          <a:cs typeface="Georgia"/>
        </a:defRPr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023391812865534E-2"/>
          <c:y val="0.19819107507908995"/>
          <c:w val="0.90554880518428527"/>
          <c:h val="0.687715136298979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4E8F"/>
            </a:solidFill>
            <a:ln w="37968">
              <a:noFill/>
              <a:prstDash val="solid"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D64-47FB-9688-F58674DF9F1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38A-4C06-A91F-DDECC3FD34D2}"/>
              </c:ext>
            </c:extLst>
          </c:dPt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74101</c:v>
                </c:pt>
                <c:pt idx="1">
                  <c:v>170396</c:v>
                </c:pt>
                <c:pt idx="2">
                  <c:v>187284</c:v>
                </c:pt>
                <c:pt idx="3">
                  <c:v>181016</c:v>
                </c:pt>
                <c:pt idx="4">
                  <c:v>188237</c:v>
                </c:pt>
                <c:pt idx="5">
                  <c:v>186192</c:v>
                </c:pt>
                <c:pt idx="6">
                  <c:v>149603</c:v>
                </c:pt>
                <c:pt idx="7">
                  <c:v>144208</c:v>
                </c:pt>
                <c:pt idx="8">
                  <c:v>183662</c:v>
                </c:pt>
                <c:pt idx="9">
                  <c:v>223493</c:v>
                </c:pt>
                <c:pt idx="10">
                  <c:v>213505</c:v>
                </c:pt>
                <c:pt idx="11">
                  <c:v>160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26-4F9C-9A58-0FAB0933863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75141</c:v>
                </c:pt>
                <c:pt idx="1">
                  <c:v>178159</c:v>
                </c:pt>
                <c:pt idx="2">
                  <c:v>137215</c:v>
                </c:pt>
                <c:pt idx="3">
                  <c:v>65313</c:v>
                </c:pt>
                <c:pt idx="4">
                  <c:v>156056</c:v>
                </c:pt>
                <c:pt idx="5">
                  <c:v>217005</c:v>
                </c:pt>
                <c:pt idx="6">
                  <c:v>184360</c:v>
                </c:pt>
                <c:pt idx="7">
                  <c:v>149488</c:v>
                </c:pt>
                <c:pt idx="8">
                  <c:v>200037</c:v>
                </c:pt>
                <c:pt idx="9">
                  <c:v>204563</c:v>
                </c:pt>
                <c:pt idx="10">
                  <c:v>174307</c:v>
                </c:pt>
                <c:pt idx="11">
                  <c:v>167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8A-4C06-A91F-DDECC3FD34D2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51460</c:v>
                </c:pt>
                <c:pt idx="1">
                  <c:v>178716</c:v>
                </c:pt>
                <c:pt idx="2">
                  <c:v>176093</c:v>
                </c:pt>
                <c:pt idx="3">
                  <c:v>155996</c:v>
                </c:pt>
                <c:pt idx="4">
                  <c:v>186296</c:v>
                </c:pt>
                <c:pt idx="5">
                  <c:v>190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38A-4C06-A91F-DDECC3FD3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3729736"/>
        <c:axId val="323732480"/>
      </c:barChart>
      <c:lineChart>
        <c:grouping val="standard"/>
        <c:varyColors val="0"/>
        <c:ser>
          <c:idx val="2"/>
          <c:order val="3"/>
          <c:tx>
            <c:strRef>
              <c:f>Sheet1!$E$1</c:f>
              <c:strCache>
                <c:ptCount val="1"/>
                <c:pt idx="0">
                  <c:v>% změna 2020 vs. 2019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4332174415069855E-2"/>
                  <c:y val="-2.50197005516154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B07-4A47-8B12-5CD1B9F3EC63}"/>
                </c:ext>
              </c:extLst>
            </c:dLbl>
            <c:dLbl>
              <c:idx val="1"/>
              <c:layout>
                <c:manualLayout>
                  <c:x val="-2.75764643370792E-2"/>
                  <c:y val="-1.42969717437803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B07-4A47-8B12-5CD1B9F3EC63}"/>
                </c:ext>
              </c:extLst>
            </c:dLbl>
            <c:dLbl>
              <c:idx val="2"/>
              <c:layout>
                <c:manualLayout>
                  <c:x val="-3.0820754259088482E-2"/>
                  <c:y val="-1.072272880783519E-2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B07-4A47-8B12-5CD1B9F3EC63}"/>
                </c:ext>
              </c:extLst>
            </c:dLbl>
            <c:dLbl>
              <c:idx val="3"/>
              <c:layout>
                <c:manualLayout>
                  <c:x val="-4.2175768986121083E-2"/>
                  <c:y val="-1.4296971743780255E-2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B07-4A47-8B12-5CD1B9F3EC63}"/>
                </c:ext>
              </c:extLst>
            </c:dLbl>
            <c:dLbl>
              <c:idx val="4"/>
              <c:layout>
                <c:manualLayout>
                  <c:x val="-3.8931479064111769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B07-4A47-8B12-5CD1B9F3EC63}"/>
                </c:ext>
              </c:extLst>
            </c:dLbl>
            <c:dLbl>
              <c:idx val="5"/>
              <c:layout>
                <c:manualLayout>
                  <c:x val="-4.866434883013971E-2"/>
                  <c:y val="-3.5742429359450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B07-4A47-8B12-5CD1B9F3EC63}"/>
                </c:ext>
              </c:extLst>
            </c:dLbl>
            <c:dLbl>
              <c:idx val="6"/>
              <c:layout>
                <c:manualLayout>
                  <c:x val="-3.4065044181097737E-2"/>
                  <c:y val="-3.276351509257424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B07-4A47-8B12-5CD1B9F3EC63}"/>
                </c:ext>
              </c:extLst>
            </c:dLbl>
            <c:dLbl>
              <c:idx val="7"/>
              <c:layout>
                <c:manualLayout>
                  <c:x val="-3.0820754259088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B07-4A47-8B12-5CD1B9F3EC63}"/>
                </c:ext>
              </c:extLst>
            </c:dLbl>
            <c:dLbl>
              <c:idx val="8"/>
              <c:layout>
                <c:manualLayout>
                  <c:x val="-4.0553624025116544E-2"/>
                  <c:y val="-7.14848587189016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B07-4A47-8B12-5CD1B9F3EC63}"/>
                </c:ext>
              </c:extLst>
            </c:dLbl>
            <c:dLbl>
              <c:idx val="9"/>
              <c:layout>
                <c:manualLayout>
                  <c:x val="-3.5687189142102574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B07-4A47-8B12-5CD1B9F3EC63}"/>
                </c:ext>
              </c:extLst>
            </c:dLbl>
            <c:dLbl>
              <c:idx val="10"/>
              <c:layout>
                <c:manualLayout>
                  <c:x val="-4.0553624025116544E-2"/>
                  <c:y val="-7.1484858718901924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B07-4A47-8B12-5CD1B9F3EC63}"/>
                </c:ext>
              </c:extLst>
            </c:dLbl>
            <c:dLbl>
              <c:idx val="11"/>
              <c:layout>
                <c:manualLayout>
                  <c:x val="-3.0820754259088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B07-4A47-8B12-5CD1B9F3EC63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chemeClr val="accent6">
                        <a:lumMod val="25000"/>
                      </a:schemeClr>
                    </a:solidFill>
                    <a:latin typeface="+mj-lt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E$2:$E$13</c:f>
              <c:numCache>
                <c:formatCode>0.0%</c:formatCode>
                <c:ptCount val="12"/>
                <c:pt idx="0">
                  <c:v>5.9735440922223937E-3</c:v>
                </c:pt>
                <c:pt idx="1">
                  <c:v>4.5558581187351788E-2</c:v>
                </c:pt>
                <c:pt idx="2">
                  <c:v>-0.26734264539416075</c:v>
                </c:pt>
                <c:pt idx="3">
                  <c:v>-0.63918659124055333</c:v>
                </c:pt>
                <c:pt idx="4">
                  <c:v>-0.17096001317488063</c:v>
                </c:pt>
                <c:pt idx="5">
                  <c:v>0.16549046145913904</c:v>
                </c:pt>
                <c:pt idx="6">
                  <c:v>0.23232822871199099</c:v>
                </c:pt>
                <c:pt idx="7">
                  <c:v>3.6613780095417825E-2</c:v>
                </c:pt>
                <c:pt idx="8">
                  <c:v>8.9158345221112656E-2</c:v>
                </c:pt>
                <c:pt idx="9">
                  <c:v>-8.4700639393627486E-2</c:v>
                </c:pt>
                <c:pt idx="10">
                  <c:v>-0.18359289009625068</c:v>
                </c:pt>
                <c:pt idx="11">
                  <c:v>4.172904191616777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B07-4A47-8B12-5CD1B9F3EC6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% změna 2021 vs. 2019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0820754259088482E-2"/>
                  <c:y val="1.0722728807835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B07-4A47-8B12-5CD1B9F3EC63}"/>
                </c:ext>
              </c:extLst>
            </c:dLbl>
            <c:dLbl>
              <c:idx val="1"/>
              <c:layout>
                <c:manualLayout>
                  <c:x val="-2.75764643370792E-2"/>
                  <c:y val="-5.3613644039175984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B07-4A47-8B12-5CD1B9F3EC63}"/>
                </c:ext>
              </c:extLst>
            </c:dLbl>
            <c:dLbl>
              <c:idx val="2"/>
              <c:layout>
                <c:manualLayout>
                  <c:x val="-2.595431937607454E-2"/>
                  <c:y val="-3.57424293594506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B07-4A47-8B12-5CD1B9F3EC63}"/>
                </c:ext>
              </c:extLst>
            </c:dLbl>
            <c:dLbl>
              <c:idx val="5"/>
              <c:layout>
                <c:manualLayout>
                  <c:x val="-1.6378968253968347E-2"/>
                  <c:y val="3.5742429359450637E-3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BE-4353-8320-D1FC18B2809F}"/>
                </c:ext>
              </c:extLst>
            </c:dLbl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rgbClr val="DA2B46"/>
                    </a:solidFill>
                    <a:latin typeface="+mj-lt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F$2:$F$13</c:f>
              <c:numCache>
                <c:formatCode>0.0%</c:formatCode>
                <c:ptCount val="12"/>
                <c:pt idx="0">
                  <c:v>-0.13004520364615946</c:v>
                </c:pt>
                <c:pt idx="1">
                  <c:v>4.8827437263785578E-2</c:v>
                </c:pt>
                <c:pt idx="2">
                  <c:v>-5.975417013733153E-2</c:v>
                </c:pt>
                <c:pt idx="3">
                  <c:v>-0.13821982587174619</c:v>
                </c:pt>
                <c:pt idx="4">
                  <c:v>-1.0311469052311728E-2</c:v>
                </c:pt>
                <c:pt idx="5">
                  <c:v>2.420619575491955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B07-4A47-8B12-5CD1B9F3E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3729344"/>
        <c:axId val="323734440"/>
      </c:lineChart>
      <c:catAx>
        <c:axId val="323729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3732480"/>
        <c:crosses val="autoZero"/>
        <c:auto val="1"/>
        <c:lblAlgn val="ctr"/>
        <c:lblOffset val="240"/>
        <c:noMultiLvlLbl val="0"/>
      </c:catAx>
      <c:valAx>
        <c:axId val="323732480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3729736"/>
        <c:crosses val="autoZero"/>
        <c:crossBetween val="between"/>
      </c:valAx>
      <c:valAx>
        <c:axId val="323734440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solidFill>
                  <a:schemeClr val="accent6">
                    <a:lumMod val="25000"/>
                  </a:schemeClr>
                </a:solidFill>
                <a:latin typeface="+mj-lt"/>
              </a:defRPr>
            </a:pPr>
            <a:endParaRPr lang="cs-CZ"/>
          </a:p>
        </c:txPr>
        <c:crossAx val="323729344"/>
        <c:crosses val="max"/>
        <c:crossBetween val="between"/>
      </c:valAx>
      <c:catAx>
        <c:axId val="3237293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3734440"/>
        <c:crosses val="autoZero"/>
        <c:auto val="1"/>
        <c:lblAlgn val="ctr"/>
        <c:lblOffset val="100"/>
        <c:noMultiLvlLbl val="0"/>
      </c:catAx>
      <c:spPr>
        <a:noFill/>
        <a:ln w="25396">
          <a:noFill/>
        </a:ln>
      </c:spPr>
    </c:plotArea>
    <c:legend>
      <c:legendPos val="t"/>
      <c:legendEntry>
        <c:idx val="4"/>
        <c:txPr>
          <a:bodyPr/>
          <a:lstStyle/>
          <a:p>
            <a:pPr>
              <a:defRPr sz="120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latin typeface="+mj-lt"/>
              </a:defRPr>
            </a:pPr>
            <a:endParaRPr lang="cs-CZ"/>
          </a:p>
        </c:txPr>
      </c:legendEntry>
      <c:overlay val="0"/>
      <c:txPr>
        <a:bodyPr/>
        <a:lstStyle/>
        <a:p>
          <a:pPr>
            <a:defRPr sz="1200">
              <a:solidFill>
                <a:schemeClr val="accent6">
                  <a:lumMod val="25000"/>
                </a:schemeClr>
              </a:solidFill>
              <a:latin typeface="+mj-lt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44" b="1" i="0" u="none" strike="noStrike" baseline="0">
          <a:solidFill>
            <a:schemeClr val="tx1"/>
          </a:solidFill>
          <a:latin typeface="Georgia"/>
          <a:ea typeface="Georgia"/>
          <a:cs typeface="Georgia"/>
        </a:defRPr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023391812865534E-2"/>
          <c:y val="0.19819107507908995"/>
          <c:w val="0.90554880518428527"/>
          <c:h val="0.687715136298979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4E8F"/>
            </a:solidFill>
            <a:ln w="37968">
              <a:noFill/>
              <a:prstDash val="solid"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D64-47FB-9688-F58674DF9F1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CB1-47C3-AE1A-997548B8D104}"/>
              </c:ext>
            </c:extLst>
          </c:dPt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47980</c:v>
                </c:pt>
                <c:pt idx="1">
                  <c:v>48847</c:v>
                </c:pt>
                <c:pt idx="2">
                  <c:v>58319</c:v>
                </c:pt>
                <c:pt idx="3">
                  <c:v>58110</c:v>
                </c:pt>
                <c:pt idx="4">
                  <c:v>59959</c:v>
                </c:pt>
                <c:pt idx="5">
                  <c:v>51451</c:v>
                </c:pt>
                <c:pt idx="6">
                  <c:v>40627</c:v>
                </c:pt>
                <c:pt idx="7">
                  <c:v>39033</c:v>
                </c:pt>
                <c:pt idx="8">
                  <c:v>52581</c:v>
                </c:pt>
                <c:pt idx="9">
                  <c:v>63977</c:v>
                </c:pt>
                <c:pt idx="10">
                  <c:v>64873</c:v>
                </c:pt>
                <c:pt idx="11">
                  <c:v>49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26-4F9C-9A58-0FAB0933863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50718</c:v>
                </c:pt>
                <c:pt idx="1">
                  <c:v>49193</c:v>
                </c:pt>
                <c:pt idx="2">
                  <c:v>29080</c:v>
                </c:pt>
                <c:pt idx="3">
                  <c:v>14184</c:v>
                </c:pt>
                <c:pt idx="4">
                  <c:v>41828</c:v>
                </c:pt>
                <c:pt idx="5">
                  <c:v>69842</c:v>
                </c:pt>
                <c:pt idx="6">
                  <c:v>48630</c:v>
                </c:pt>
                <c:pt idx="7">
                  <c:v>41071</c:v>
                </c:pt>
                <c:pt idx="8">
                  <c:v>53706</c:v>
                </c:pt>
                <c:pt idx="9">
                  <c:v>47734</c:v>
                </c:pt>
                <c:pt idx="10">
                  <c:v>39831</c:v>
                </c:pt>
                <c:pt idx="11">
                  <c:v>417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B1-47C3-AE1A-997548B8D104}"/>
            </c:ext>
          </c:extLst>
        </c:ser>
        <c:ser>
          <c:idx val="2"/>
          <c:order val="4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38111</c:v>
                </c:pt>
                <c:pt idx="1">
                  <c:v>43064</c:v>
                </c:pt>
                <c:pt idx="2">
                  <c:v>48387</c:v>
                </c:pt>
                <c:pt idx="3">
                  <c:v>50202</c:v>
                </c:pt>
                <c:pt idx="4">
                  <c:v>62287</c:v>
                </c:pt>
                <c:pt idx="5">
                  <c:v>59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481-4998-8B89-279E6D2DB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6772024"/>
        <c:axId val="326770848"/>
      </c:barChart>
      <c:lineChart>
        <c:grouping val="standard"/>
        <c:varyColors val="0"/>
        <c:ser>
          <c:idx val="1"/>
          <c:order val="2"/>
          <c:tx>
            <c:strRef>
              <c:f>Sheet1!$E$1</c:f>
              <c:strCache>
                <c:ptCount val="1"/>
                <c:pt idx="0">
                  <c:v>% změna 2020 vs. 2019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389616858237548E-2"/>
                  <c:y val="-1.0722728807835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65A-4E4D-87CE-EEE1C193994B}"/>
                </c:ext>
              </c:extLst>
            </c:dLbl>
            <c:dLbl>
              <c:idx val="1"/>
              <c:layout>
                <c:manualLayout>
                  <c:x val="-2.389610472541507E-2"/>
                  <c:y val="-2.1445457615670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3194636015325664E-2"/>
                      <c:h val="4.373888326015985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65A-4E4D-87CE-EEE1C193994B}"/>
                </c:ext>
              </c:extLst>
            </c:dLbl>
            <c:dLbl>
              <c:idx val="2"/>
              <c:layout>
                <c:manualLayout>
                  <c:x val="-3.1508429118773974E-2"/>
                  <c:y val="7.1484858718901274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D53-4573-9783-BC1CC1D17D91}"/>
                </c:ext>
              </c:extLst>
            </c:dLbl>
            <c:dLbl>
              <c:idx val="3"/>
              <c:layout>
                <c:manualLayout>
                  <c:x val="-3.7996296296296299E-2"/>
                  <c:y val="1.4296971743780123E-2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D53-4573-9783-BC1CC1D17D91}"/>
                </c:ext>
              </c:extLst>
            </c:dLbl>
            <c:dLbl>
              <c:idx val="4"/>
              <c:layout>
                <c:manualLayout>
                  <c:x val="-3.7996296296296299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D53-4573-9783-BC1CC1D17D91}"/>
                </c:ext>
              </c:extLst>
            </c:dLbl>
            <c:dLbl>
              <c:idx val="5"/>
              <c:layout>
                <c:manualLayout>
                  <c:x val="-3.087432950191565E-2"/>
                  <c:y val="1.78712146797252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0662962962962963E-2"/>
                      <c:h val="3.96465158167285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965A-4E4D-87CE-EEE1C193994B}"/>
                </c:ext>
              </c:extLst>
            </c:dLbl>
            <c:dLbl>
              <c:idx val="6"/>
              <c:layout>
                <c:manualLayout>
                  <c:x val="-3.2496296296296356E-2"/>
                  <c:y val="1.0722728807835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65A-4E4D-87CE-EEE1C193994B}"/>
                </c:ext>
              </c:extLst>
            </c:dLbl>
            <c:dLbl>
              <c:idx val="7"/>
              <c:layout>
                <c:manualLayout>
                  <c:x val="-3.3627969348659123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65A-4E4D-87CE-EEE1C193994B}"/>
                </c:ext>
              </c:extLst>
            </c:dLbl>
            <c:dLbl>
              <c:idx val="8"/>
              <c:layout>
                <c:manualLayout>
                  <c:x val="-3.3627969348659005E-2"/>
                  <c:y val="1.42969717437801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65A-4E4D-87CE-EEE1C193994B}"/>
                </c:ext>
              </c:extLst>
            </c:dLbl>
            <c:dLbl>
              <c:idx val="9"/>
              <c:layout>
                <c:manualLayout>
                  <c:x val="-3.6374329501915825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D53-4573-9783-BC1CC1D17D91}"/>
                </c:ext>
              </c:extLst>
            </c:dLbl>
            <c:dLbl>
              <c:idx val="10"/>
              <c:layout>
                <c:manualLayout>
                  <c:x val="-3.4752362707535241E-2"/>
                  <c:y val="7.1484858718899964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D53-4573-9783-BC1CC1D17D91}"/>
                </c:ext>
              </c:extLst>
            </c:dLbl>
            <c:dLbl>
              <c:idx val="11"/>
              <c:layout>
                <c:manualLayout>
                  <c:x val="-3.9618263090676883E-2"/>
                  <c:y val="-2.1445457615670446E-2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D53-4573-9783-BC1CC1D17D91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chemeClr val="accent6">
                        <a:lumMod val="25000"/>
                      </a:schemeClr>
                    </a:solidFill>
                    <a:latin typeface="+mj-lt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E$2:$E$13</c:f>
              <c:numCache>
                <c:formatCode>0.0%</c:formatCode>
                <c:ptCount val="12"/>
                <c:pt idx="0">
                  <c:v>5.7065443934972926E-2</c:v>
                </c:pt>
                <c:pt idx="1">
                  <c:v>7.0833418633693412E-3</c:v>
                </c:pt>
                <c:pt idx="2">
                  <c:v>-0.5013631920986299</c:v>
                </c:pt>
                <c:pt idx="3">
                  <c:v>-0.75591120289106861</c:v>
                </c:pt>
                <c:pt idx="4">
                  <c:v>-0.30238996647709271</c:v>
                </c:pt>
                <c:pt idx="5">
                  <c:v>0.357446891216886</c:v>
                </c:pt>
                <c:pt idx="6">
                  <c:v>0.19698722524429568</c:v>
                </c:pt>
                <c:pt idx="7">
                  <c:v>5.2212230676607074E-2</c:v>
                </c:pt>
                <c:pt idx="8">
                  <c:v>2.1395561134250007E-2</c:v>
                </c:pt>
                <c:pt idx="9">
                  <c:v>-0.25388811604170247</c:v>
                </c:pt>
                <c:pt idx="10">
                  <c:v>-0.38601575385753706</c:v>
                </c:pt>
                <c:pt idx="11">
                  <c:v>-0.149758650889020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CB1-47C3-AE1A-997548B8D104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% změna 2021 vs. 2019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2439335887611762E-2"/>
                  <c:y val="-1.42969717437802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481-4998-8B89-279E6D2DB990}"/>
                </c:ext>
              </c:extLst>
            </c:dLbl>
            <c:dLbl>
              <c:idx val="1"/>
              <c:layout>
                <c:manualLayout>
                  <c:x val="-3.4061302681992339E-2"/>
                  <c:y val="3.57424293594506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481-4998-8B89-279E6D2DB990}"/>
                </c:ext>
              </c:extLst>
            </c:dLbl>
            <c:dLbl>
              <c:idx val="2"/>
              <c:layout>
                <c:manualLayout>
                  <c:x val="-3.4061302681992367E-2"/>
                  <c:y val="-1.0722728807835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481-4998-8B89-279E6D2DB990}"/>
                </c:ext>
              </c:extLst>
            </c:dLbl>
            <c:dLbl>
              <c:idx val="4"/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699-4497-9BED-F13AAA039543}"/>
                </c:ext>
              </c:extLst>
            </c:dLbl>
            <c:dLbl>
              <c:idx val="5"/>
              <c:layout>
                <c:manualLayout>
                  <c:x val="-2.0158730158730251E-2"/>
                  <c:y val="0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699-4497-9BED-F13AAA039543}"/>
                </c:ext>
              </c:extLst>
            </c:dLbl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rgbClr val="DA2B46"/>
                    </a:solidFill>
                    <a:latin typeface="+mj-lt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F$2:$F$13</c:f>
              <c:numCache>
                <c:formatCode>0.0%</c:formatCode>
                <c:ptCount val="12"/>
                <c:pt idx="0">
                  <c:v>-0.20568987077949141</c:v>
                </c:pt>
                <c:pt idx="1">
                  <c:v>-0.11839007513255673</c:v>
                </c:pt>
                <c:pt idx="2">
                  <c:v>-0.17030470344141702</c:v>
                </c:pt>
                <c:pt idx="3">
                  <c:v>-0.13608673205988642</c:v>
                </c:pt>
                <c:pt idx="4">
                  <c:v>3.8826531463166392E-2</c:v>
                </c:pt>
                <c:pt idx="5">
                  <c:v>0.14934597966997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81-4998-8B89-279E6D2DB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6770064"/>
        <c:axId val="326770456"/>
      </c:lineChart>
      <c:catAx>
        <c:axId val="326772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70848"/>
        <c:crosses val="autoZero"/>
        <c:auto val="1"/>
        <c:lblAlgn val="ctr"/>
        <c:lblOffset val="240"/>
        <c:noMultiLvlLbl val="0"/>
      </c:catAx>
      <c:valAx>
        <c:axId val="32677084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72024"/>
        <c:crosses val="autoZero"/>
        <c:crossBetween val="between"/>
      </c:valAx>
      <c:valAx>
        <c:axId val="326770456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chemeClr val="accent6">
                    <a:lumMod val="25000"/>
                  </a:schemeClr>
                </a:solidFill>
                <a:latin typeface="+mj-lt"/>
              </a:defRPr>
            </a:pPr>
            <a:endParaRPr lang="cs-CZ"/>
          </a:p>
        </c:txPr>
        <c:crossAx val="326770064"/>
        <c:crosses val="max"/>
        <c:crossBetween val="between"/>
      </c:valAx>
      <c:catAx>
        <c:axId val="326770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6770456"/>
        <c:crosses val="autoZero"/>
        <c:auto val="1"/>
        <c:lblAlgn val="ctr"/>
        <c:lblOffset val="100"/>
        <c:noMultiLvlLbl val="0"/>
      </c:catAx>
      <c:spPr>
        <a:noFill/>
        <a:ln w="25396">
          <a:noFill/>
        </a:ln>
      </c:spPr>
    </c:plotArea>
    <c:legend>
      <c:legendPos val="t"/>
      <c:overlay val="0"/>
      <c:txPr>
        <a:bodyPr/>
        <a:lstStyle/>
        <a:p>
          <a:pPr>
            <a:defRPr sz="1200" b="1">
              <a:solidFill>
                <a:schemeClr val="accent6">
                  <a:lumMod val="25000"/>
                </a:schemeClr>
              </a:solidFill>
              <a:latin typeface="+mj-lt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44" b="1" i="0" u="none" strike="noStrike" baseline="0">
          <a:solidFill>
            <a:schemeClr val="tx1"/>
          </a:solidFill>
          <a:latin typeface="Georgia"/>
          <a:ea typeface="Georgia"/>
          <a:cs typeface="Georgia"/>
        </a:defRPr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347936044061027E-2"/>
          <c:y val="0.19819120792525047"/>
          <c:w val="0.90554880518428527"/>
          <c:h val="0.687715136298979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4E8F"/>
            </a:solidFill>
            <a:ln w="37968">
              <a:noFill/>
              <a:prstDash val="solid"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D64-47FB-9688-F58674DF9F1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96F-4581-BD84-B6014277A4A8}"/>
              </c:ext>
            </c:extLst>
          </c:dPt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073</c:v>
                </c:pt>
                <c:pt idx="1">
                  <c:v>1074</c:v>
                </c:pt>
                <c:pt idx="2">
                  <c:v>1122</c:v>
                </c:pt>
                <c:pt idx="3">
                  <c:v>1123</c:v>
                </c:pt>
                <c:pt idx="4">
                  <c:v>1232</c:v>
                </c:pt>
                <c:pt idx="5">
                  <c:v>1116</c:v>
                </c:pt>
                <c:pt idx="6">
                  <c:v>852</c:v>
                </c:pt>
                <c:pt idx="7">
                  <c:v>839</c:v>
                </c:pt>
                <c:pt idx="8">
                  <c:v>971</c:v>
                </c:pt>
                <c:pt idx="9">
                  <c:v>1179</c:v>
                </c:pt>
                <c:pt idx="10">
                  <c:v>1115</c:v>
                </c:pt>
                <c:pt idx="11">
                  <c:v>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26-4F9C-9A58-0FAB0933863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139</c:v>
                </c:pt>
                <c:pt idx="1">
                  <c:v>1153</c:v>
                </c:pt>
                <c:pt idx="2">
                  <c:v>740</c:v>
                </c:pt>
                <c:pt idx="3">
                  <c:v>471</c:v>
                </c:pt>
                <c:pt idx="4">
                  <c:v>862</c:v>
                </c:pt>
                <c:pt idx="5">
                  <c:v>1089</c:v>
                </c:pt>
                <c:pt idx="6">
                  <c:v>905</c:v>
                </c:pt>
                <c:pt idx="7">
                  <c:v>782</c:v>
                </c:pt>
                <c:pt idx="8">
                  <c:v>1111</c:v>
                </c:pt>
                <c:pt idx="9">
                  <c:v>1044</c:v>
                </c:pt>
                <c:pt idx="10">
                  <c:v>955</c:v>
                </c:pt>
                <c:pt idx="11">
                  <c:v>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6F-4581-BD84-B6014277A4A8}"/>
            </c:ext>
          </c:extLst>
        </c:ser>
        <c:ser>
          <c:idx val="2"/>
          <c:order val="4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1064</c:v>
                </c:pt>
                <c:pt idx="1">
                  <c:v>1085</c:v>
                </c:pt>
                <c:pt idx="2">
                  <c:v>1193</c:v>
                </c:pt>
                <c:pt idx="3">
                  <c:v>1077</c:v>
                </c:pt>
                <c:pt idx="4">
                  <c:v>1146</c:v>
                </c:pt>
                <c:pt idx="5">
                  <c:v>1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2C-448B-B685-A40913880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6772416"/>
        <c:axId val="326767712"/>
      </c:barChart>
      <c:lineChart>
        <c:grouping val="standard"/>
        <c:varyColors val="0"/>
        <c:ser>
          <c:idx val="1"/>
          <c:order val="2"/>
          <c:tx>
            <c:strRef>
              <c:f>Sheet1!$E$1</c:f>
              <c:strCache>
                <c:ptCount val="1"/>
                <c:pt idx="0">
                  <c:v>% změna 2020 vs. 2019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7143083403796585E-2"/>
                  <c:y val="-7.148485871890127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97A-4B0A-8260-2E1AE407C0F4}"/>
                </c:ext>
              </c:extLst>
            </c:dLbl>
            <c:dLbl>
              <c:idx val="1"/>
              <c:layout>
                <c:manualLayout>
                  <c:x val="-1.7410213637768644E-2"/>
                  <c:y val="-7.148485871890192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7A-4B0A-8260-2E1AE407C0F4}"/>
                </c:ext>
              </c:extLst>
            </c:dLbl>
            <c:dLbl>
              <c:idx val="2"/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8CF-46D3-8FDF-2892DCD05DC5}"/>
                </c:ext>
              </c:extLst>
            </c:dLbl>
            <c:dLbl>
              <c:idx val="3"/>
              <c:layout>
                <c:manualLayout>
                  <c:x val="-3.9622614999859501E-2"/>
                  <c:y val="-7.1484858718901274E-3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8CF-46D3-8FDF-2892DCD05DC5}"/>
                </c:ext>
              </c:extLst>
            </c:dLbl>
            <c:dLbl>
              <c:idx val="4"/>
              <c:layout>
                <c:manualLayout>
                  <c:x val="-3.80004700388549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8CF-46D3-8FDF-2892DCD05DC5}"/>
                </c:ext>
              </c:extLst>
            </c:dLbl>
            <c:dLbl>
              <c:idx val="5"/>
              <c:layout>
                <c:manualLayout>
                  <c:x val="-3.751012244001263E-2"/>
                  <c:y val="1.0722728807835126E-2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8CF-46D3-8FDF-2892DCD05DC5}"/>
                </c:ext>
              </c:extLst>
            </c:dLbl>
            <c:dLbl>
              <c:idx val="6"/>
              <c:layout>
                <c:manualLayout>
                  <c:x val="-3.0387373325805957E-2"/>
                  <c:y val="7.148485871890160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7A-4B0A-8260-2E1AE407C0F4}"/>
                </c:ext>
              </c:extLst>
            </c:dLbl>
            <c:dLbl>
              <c:idx val="7"/>
              <c:layout>
                <c:manualLayout>
                  <c:x val="-3.4265832518003254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8CF-46D3-8FDF-2892DCD05DC5}"/>
                </c:ext>
              </c:extLst>
            </c:dLbl>
            <c:dLbl>
              <c:idx val="8"/>
              <c:layout>
                <c:manualLayout>
                  <c:x val="-3.8988445729671577E-2"/>
                  <c:y val="-3.574242935945063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97A-4B0A-8260-2E1AE407C0F4}"/>
                </c:ext>
              </c:extLst>
            </c:dLbl>
            <c:dLbl>
              <c:idx val="9"/>
              <c:layout>
                <c:manualLayout>
                  <c:x val="-3.9622614999859619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8CF-46D3-8FDF-2892DCD05DC5}"/>
                </c:ext>
              </c:extLst>
            </c:dLbl>
            <c:dLbl>
              <c:idx val="10"/>
              <c:layout>
                <c:manualLayout>
                  <c:x val="-4.1244759960864158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8CF-46D3-8FDF-2892DCD05DC5}"/>
                </c:ext>
              </c:extLst>
            </c:dLbl>
            <c:dLbl>
              <c:idx val="11"/>
              <c:layout>
                <c:manualLayout>
                  <c:x val="-3.264368755699848E-2"/>
                  <c:y val="0"/>
                </c:manualLayout>
              </c:layout>
              <c:spPr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8CF-46D3-8FDF-2892DCD05DC5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chemeClr val="accent6">
                        <a:lumMod val="25000"/>
                      </a:schemeClr>
                    </a:solidFill>
                    <a:latin typeface="+mj-lt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E$2:$E$13</c:f>
              <c:numCache>
                <c:formatCode>0.0%</c:formatCode>
                <c:ptCount val="12"/>
                <c:pt idx="0">
                  <c:v>6.1509785647716697E-2</c:v>
                </c:pt>
                <c:pt idx="1">
                  <c:v>7.3556797020484233E-2</c:v>
                </c:pt>
                <c:pt idx="2">
                  <c:v>-0.34046345811051693</c:v>
                </c:pt>
                <c:pt idx="3">
                  <c:v>-0.5805877114870881</c:v>
                </c:pt>
                <c:pt idx="4">
                  <c:v>-0.30032467532467533</c:v>
                </c:pt>
                <c:pt idx="5">
                  <c:v>-2.4193548387096753E-2</c:v>
                </c:pt>
                <c:pt idx="6">
                  <c:v>6.2206572769953006E-2</c:v>
                </c:pt>
                <c:pt idx="7">
                  <c:v>-6.7938021454111985E-2</c:v>
                </c:pt>
                <c:pt idx="8">
                  <c:v>0.14418125643666313</c:v>
                </c:pt>
                <c:pt idx="9">
                  <c:v>-0.1145038167938931</c:v>
                </c:pt>
                <c:pt idx="10">
                  <c:v>-0.1434977578475336</c:v>
                </c:pt>
                <c:pt idx="11">
                  <c:v>-7.29833546734954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96F-4581-BD84-B6014277A4A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% změna 2021 vs. 2019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1364696505618755E-2"/>
                  <c:y val="1.9658336147697849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noAutofit/>
                </a:bodyPr>
                <a:lstStyle/>
                <a:p>
                  <a:pPr>
                    <a:defRPr sz="900">
                      <a:solidFill>
                        <a:srgbClr val="DA2B46"/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777898977410035E-2"/>
                      <c:h val="4.36237757514353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672C-448B-B685-A4091388003F}"/>
                </c:ext>
              </c:extLst>
            </c:dLbl>
            <c:dLbl>
              <c:idx val="1"/>
              <c:layout>
                <c:manualLayout>
                  <c:x val="-2.9198609298083857E-2"/>
                  <c:y val="0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3.7710783048968341E-2"/>
                      <c:h val="3.96465158167285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72C-448B-B685-A4091388003F}"/>
                </c:ext>
              </c:extLst>
            </c:dLbl>
            <c:dLbl>
              <c:idx val="2"/>
              <c:layout>
                <c:manualLayout>
                  <c:x val="-2.9198609298083825E-2"/>
                  <c:y val="1.072272880783519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72C-448B-B685-A4091388003F}"/>
                </c:ext>
              </c:extLst>
            </c:dLbl>
            <c:dLbl>
              <c:idx val="5"/>
              <c:layout>
                <c:manualLayout>
                  <c:x val="-1.5119047619047619E-2"/>
                  <c:y val="-2.5019700551615478E-2"/>
                </c:manualLayout>
              </c:layout>
              <c:spPr>
                <a:solidFill>
                  <a:schemeClr val="accent2">
                    <a:lumMod val="20000"/>
                    <a:lumOff val="80000"/>
                  </a:schemeClr>
                </a:solidFill>
                <a:ln w="19050">
                  <a:noFill/>
                </a:ln>
                <a:effectLst/>
              </c:spPr>
              <c:txPr>
                <a:bodyPr wrap="square" lIns="14400" tIns="0" rIns="14400" bIns="0" anchor="ctr">
                  <a:spAutoFit/>
                </a:bodyPr>
                <a:lstStyle/>
                <a:p>
                  <a:pPr>
                    <a:defRPr sz="900">
                      <a:solidFill>
                        <a:schemeClr val="accent6">
                          <a:lumMod val="25000"/>
                        </a:schemeClr>
                      </a:solidFill>
                      <a:latin typeface="+mj-lt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7EE-47E5-92C6-F5168DD5806D}"/>
                </c:ext>
              </c:extLst>
            </c:dLbl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txPr>
              <a:bodyPr wrap="square" lIns="14400" tIns="0" rIns="14400" bIns="0" anchor="ctr">
                <a:spAutoFit/>
              </a:bodyPr>
              <a:lstStyle/>
              <a:p>
                <a:pPr>
                  <a:defRPr sz="900">
                    <a:solidFill>
                      <a:srgbClr val="DA2B46"/>
                    </a:solidFill>
                    <a:latin typeface="+mj-lt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Sheet1!$F$2:$F$13</c:f>
              <c:numCache>
                <c:formatCode>0.0%</c:formatCode>
                <c:ptCount val="12"/>
                <c:pt idx="0">
                  <c:v>-8.3876980428704284E-3</c:v>
                </c:pt>
                <c:pt idx="1">
                  <c:v>1.0242085661080091E-2</c:v>
                </c:pt>
                <c:pt idx="2">
                  <c:v>6.3279857397504413E-2</c:v>
                </c:pt>
                <c:pt idx="3">
                  <c:v>-4.0961709706144211E-2</c:v>
                </c:pt>
                <c:pt idx="4">
                  <c:v>-6.9805194805194759E-2</c:v>
                </c:pt>
                <c:pt idx="5">
                  <c:v>2.956989247311825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72C-448B-B685-A40913880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6772808"/>
        <c:axId val="326768104"/>
      </c:lineChart>
      <c:catAx>
        <c:axId val="326772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67712"/>
        <c:crosses val="autoZero"/>
        <c:auto val="1"/>
        <c:lblAlgn val="ctr"/>
        <c:lblOffset val="240"/>
        <c:noMultiLvlLbl val="0"/>
      </c:catAx>
      <c:valAx>
        <c:axId val="326767712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31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accent6">
                    <a:lumMod val="25000"/>
                  </a:schemeClr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326772416"/>
        <c:crosses val="autoZero"/>
        <c:crossBetween val="between"/>
      </c:valAx>
      <c:valAx>
        <c:axId val="326768104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chemeClr val="accent6">
                    <a:lumMod val="25000"/>
                  </a:schemeClr>
                </a:solidFill>
                <a:latin typeface="+mj-lt"/>
              </a:defRPr>
            </a:pPr>
            <a:endParaRPr lang="cs-CZ"/>
          </a:p>
        </c:txPr>
        <c:crossAx val="326772808"/>
        <c:crosses val="max"/>
        <c:crossBetween val="between"/>
      </c:valAx>
      <c:catAx>
        <c:axId val="326772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6768104"/>
        <c:crosses val="autoZero"/>
        <c:auto val="1"/>
        <c:lblAlgn val="ctr"/>
        <c:lblOffset val="100"/>
        <c:noMultiLvlLbl val="0"/>
      </c:catAx>
      <c:spPr>
        <a:noFill/>
        <a:ln w="25396">
          <a:noFill/>
        </a:ln>
      </c:spPr>
    </c:plotArea>
    <c:legend>
      <c:legendPos val="t"/>
      <c:overlay val="0"/>
      <c:txPr>
        <a:bodyPr/>
        <a:lstStyle/>
        <a:p>
          <a:pPr>
            <a:defRPr sz="1200" b="1">
              <a:solidFill>
                <a:schemeClr val="accent6">
                  <a:lumMod val="25000"/>
                </a:schemeClr>
              </a:solidFill>
              <a:latin typeface="+mj-lt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44" b="1" i="0" u="none" strike="noStrike" baseline="0">
          <a:solidFill>
            <a:schemeClr val="tx1"/>
          </a:solidFill>
          <a:latin typeface="Georgia"/>
          <a:ea typeface="Georgia"/>
          <a:cs typeface="Georgia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iden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565</c:f>
              <c:numCache>
                <c:formatCode>m/d/yyyy</c:formatCode>
                <c:ptCount val="564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  <c:pt idx="532">
                  <c:v>44423</c:v>
                </c:pt>
                <c:pt idx="533">
                  <c:v>44424</c:v>
                </c:pt>
                <c:pt idx="534">
                  <c:v>44425</c:v>
                </c:pt>
                <c:pt idx="535">
                  <c:v>44426</c:v>
                </c:pt>
                <c:pt idx="536">
                  <c:v>44427</c:v>
                </c:pt>
                <c:pt idx="537">
                  <c:v>44428</c:v>
                </c:pt>
                <c:pt idx="538">
                  <c:v>44429</c:v>
                </c:pt>
                <c:pt idx="539">
                  <c:v>44430</c:v>
                </c:pt>
                <c:pt idx="540">
                  <c:v>44431</c:v>
                </c:pt>
                <c:pt idx="541">
                  <c:v>44432</c:v>
                </c:pt>
                <c:pt idx="542">
                  <c:v>44433</c:v>
                </c:pt>
                <c:pt idx="543">
                  <c:v>44434</c:v>
                </c:pt>
                <c:pt idx="544">
                  <c:v>44435</c:v>
                </c:pt>
                <c:pt idx="545">
                  <c:v>44436</c:v>
                </c:pt>
                <c:pt idx="546">
                  <c:v>44437</c:v>
                </c:pt>
                <c:pt idx="547">
                  <c:v>44438</c:v>
                </c:pt>
                <c:pt idx="548">
                  <c:v>44439</c:v>
                </c:pt>
                <c:pt idx="549">
                  <c:v>44440</c:v>
                </c:pt>
                <c:pt idx="550">
                  <c:v>44441</c:v>
                </c:pt>
                <c:pt idx="551">
                  <c:v>44442</c:v>
                </c:pt>
                <c:pt idx="552">
                  <c:v>44443</c:v>
                </c:pt>
                <c:pt idx="553">
                  <c:v>44444</c:v>
                </c:pt>
                <c:pt idx="554">
                  <c:v>44445</c:v>
                </c:pt>
                <c:pt idx="555">
                  <c:v>44446</c:v>
                </c:pt>
                <c:pt idx="556">
                  <c:v>44447</c:v>
                </c:pt>
                <c:pt idx="557">
                  <c:v>44448</c:v>
                </c:pt>
                <c:pt idx="558">
                  <c:v>44449</c:v>
                </c:pt>
                <c:pt idx="559">
                  <c:v>44450</c:v>
                </c:pt>
                <c:pt idx="560">
                  <c:v>44451</c:v>
                </c:pt>
                <c:pt idx="561">
                  <c:v>44452</c:v>
                </c:pt>
                <c:pt idx="562">
                  <c:v>44453</c:v>
                </c:pt>
                <c:pt idx="563">
                  <c:v>44454</c:v>
                </c:pt>
              </c:numCache>
            </c:numRef>
          </c:cat>
          <c:val>
            <c:numRef>
              <c:f>Sheet1!$B$2:$B$565</c:f>
              <c:numCache>
                <c:formatCode>General</c:formatCode>
                <c:ptCount val="564"/>
                <c:pt idx="15">
                  <c:v>3</c:v>
                </c:pt>
                <c:pt idx="16">
                  <c:v>7</c:v>
                </c:pt>
                <c:pt idx="17">
                  <c:v>9</c:v>
                </c:pt>
                <c:pt idx="18">
                  <c:v>10</c:v>
                </c:pt>
                <c:pt idx="19">
                  <c:v>16</c:v>
                </c:pt>
                <c:pt idx="20">
                  <c:v>18</c:v>
                </c:pt>
                <c:pt idx="21">
                  <c:v>27</c:v>
                </c:pt>
                <c:pt idx="22">
                  <c:v>31</c:v>
                </c:pt>
                <c:pt idx="23">
                  <c:v>41</c:v>
                </c:pt>
                <c:pt idx="24">
                  <c:v>54</c:v>
                </c:pt>
                <c:pt idx="25">
                  <c:v>51</c:v>
                </c:pt>
                <c:pt idx="26">
                  <c:v>59</c:v>
                </c:pt>
                <c:pt idx="27">
                  <c:v>63</c:v>
                </c:pt>
                <c:pt idx="28">
                  <c:v>61</c:v>
                </c:pt>
                <c:pt idx="29">
                  <c:v>73</c:v>
                </c:pt>
                <c:pt idx="30">
                  <c:v>82</c:v>
                </c:pt>
                <c:pt idx="31">
                  <c:v>88</c:v>
                </c:pt>
                <c:pt idx="32">
                  <c:v>87</c:v>
                </c:pt>
                <c:pt idx="33">
                  <c:v>94</c:v>
                </c:pt>
                <c:pt idx="34">
                  <c:v>90</c:v>
                </c:pt>
                <c:pt idx="35">
                  <c:v>91</c:v>
                </c:pt>
                <c:pt idx="36">
                  <c:v>96</c:v>
                </c:pt>
                <c:pt idx="37">
                  <c:v>102</c:v>
                </c:pt>
                <c:pt idx="38">
                  <c:v>96</c:v>
                </c:pt>
                <c:pt idx="39">
                  <c:v>94</c:v>
                </c:pt>
                <c:pt idx="40">
                  <c:v>90</c:v>
                </c:pt>
                <c:pt idx="41">
                  <c:v>94</c:v>
                </c:pt>
                <c:pt idx="42">
                  <c:v>99</c:v>
                </c:pt>
                <c:pt idx="43">
                  <c:v>93</c:v>
                </c:pt>
                <c:pt idx="44">
                  <c:v>83</c:v>
                </c:pt>
                <c:pt idx="45">
                  <c:v>79</c:v>
                </c:pt>
                <c:pt idx="46">
                  <c:v>87</c:v>
                </c:pt>
                <c:pt idx="47">
                  <c:v>86</c:v>
                </c:pt>
                <c:pt idx="48">
                  <c:v>81</c:v>
                </c:pt>
                <c:pt idx="49">
                  <c:v>84</c:v>
                </c:pt>
                <c:pt idx="50">
                  <c:v>86</c:v>
                </c:pt>
                <c:pt idx="51">
                  <c:v>82</c:v>
                </c:pt>
                <c:pt idx="52">
                  <c:v>78</c:v>
                </c:pt>
                <c:pt idx="53">
                  <c:v>75</c:v>
                </c:pt>
                <c:pt idx="54">
                  <c:v>73</c:v>
                </c:pt>
                <c:pt idx="55">
                  <c:v>69</c:v>
                </c:pt>
                <c:pt idx="56">
                  <c:v>67</c:v>
                </c:pt>
                <c:pt idx="57">
                  <c:v>68</c:v>
                </c:pt>
                <c:pt idx="58">
                  <c:v>61</c:v>
                </c:pt>
                <c:pt idx="59">
                  <c:v>60</c:v>
                </c:pt>
                <c:pt idx="60">
                  <c:v>52</c:v>
                </c:pt>
                <c:pt idx="61">
                  <c:v>46</c:v>
                </c:pt>
                <c:pt idx="62">
                  <c:v>47</c:v>
                </c:pt>
                <c:pt idx="63">
                  <c:v>45</c:v>
                </c:pt>
                <c:pt idx="64">
                  <c:v>47</c:v>
                </c:pt>
                <c:pt idx="65">
                  <c:v>37</c:v>
                </c:pt>
                <c:pt idx="66">
                  <c:v>35</c:v>
                </c:pt>
                <c:pt idx="67">
                  <c:v>36</c:v>
                </c:pt>
                <c:pt idx="68">
                  <c:v>40</c:v>
                </c:pt>
                <c:pt idx="69">
                  <c:v>34</c:v>
                </c:pt>
                <c:pt idx="70">
                  <c:v>34</c:v>
                </c:pt>
                <c:pt idx="71">
                  <c:v>35</c:v>
                </c:pt>
                <c:pt idx="72">
                  <c:v>32</c:v>
                </c:pt>
                <c:pt idx="73">
                  <c:v>29</c:v>
                </c:pt>
                <c:pt idx="74">
                  <c:v>29</c:v>
                </c:pt>
                <c:pt idx="75">
                  <c:v>29</c:v>
                </c:pt>
                <c:pt idx="76">
                  <c:v>28</c:v>
                </c:pt>
                <c:pt idx="77">
                  <c:v>28</c:v>
                </c:pt>
                <c:pt idx="78">
                  <c:v>29</c:v>
                </c:pt>
                <c:pt idx="79">
                  <c:v>26</c:v>
                </c:pt>
                <c:pt idx="80">
                  <c:v>25</c:v>
                </c:pt>
                <c:pt idx="81">
                  <c:v>23</c:v>
                </c:pt>
                <c:pt idx="82">
                  <c:v>17</c:v>
                </c:pt>
                <c:pt idx="83">
                  <c:v>18</c:v>
                </c:pt>
                <c:pt idx="84">
                  <c:v>19</c:v>
                </c:pt>
                <c:pt idx="85">
                  <c:v>18</c:v>
                </c:pt>
                <c:pt idx="86">
                  <c:v>16</c:v>
                </c:pt>
                <c:pt idx="87">
                  <c:v>16</c:v>
                </c:pt>
                <c:pt idx="88">
                  <c:v>13</c:v>
                </c:pt>
                <c:pt idx="89">
                  <c:v>12</c:v>
                </c:pt>
                <c:pt idx="90">
                  <c:v>12</c:v>
                </c:pt>
                <c:pt idx="91">
                  <c:v>11</c:v>
                </c:pt>
                <c:pt idx="92">
                  <c:v>11</c:v>
                </c:pt>
                <c:pt idx="93">
                  <c:v>9</c:v>
                </c:pt>
                <c:pt idx="94">
                  <c:v>8</c:v>
                </c:pt>
                <c:pt idx="95">
                  <c:v>8</c:v>
                </c:pt>
                <c:pt idx="96">
                  <c:v>6</c:v>
                </c:pt>
                <c:pt idx="97">
                  <c:v>8</c:v>
                </c:pt>
                <c:pt idx="98">
                  <c:v>9</c:v>
                </c:pt>
                <c:pt idx="99">
                  <c:v>9</c:v>
                </c:pt>
                <c:pt idx="100">
                  <c:v>11</c:v>
                </c:pt>
                <c:pt idx="101">
                  <c:v>12</c:v>
                </c:pt>
                <c:pt idx="102">
                  <c:v>10</c:v>
                </c:pt>
                <c:pt idx="103">
                  <c:v>11</c:v>
                </c:pt>
                <c:pt idx="104">
                  <c:v>10</c:v>
                </c:pt>
                <c:pt idx="105">
                  <c:v>11</c:v>
                </c:pt>
                <c:pt idx="106">
                  <c:v>8</c:v>
                </c:pt>
                <c:pt idx="107">
                  <c:v>4</c:v>
                </c:pt>
                <c:pt idx="108">
                  <c:v>6</c:v>
                </c:pt>
                <c:pt idx="109">
                  <c:v>8</c:v>
                </c:pt>
                <c:pt idx="110">
                  <c:v>7</c:v>
                </c:pt>
                <c:pt idx="111">
                  <c:v>7</c:v>
                </c:pt>
                <c:pt idx="112">
                  <c:v>9</c:v>
                </c:pt>
                <c:pt idx="113">
                  <c:v>9</c:v>
                </c:pt>
                <c:pt idx="114">
                  <c:v>6</c:v>
                </c:pt>
                <c:pt idx="115">
                  <c:v>7</c:v>
                </c:pt>
                <c:pt idx="116">
                  <c:v>9</c:v>
                </c:pt>
                <c:pt idx="117">
                  <c:v>8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8</c:v>
                </c:pt>
                <c:pt idx="122">
                  <c:v>10</c:v>
                </c:pt>
                <c:pt idx="123">
                  <c:v>10</c:v>
                </c:pt>
                <c:pt idx="124">
                  <c:v>11</c:v>
                </c:pt>
                <c:pt idx="125">
                  <c:v>11</c:v>
                </c:pt>
                <c:pt idx="126">
                  <c:v>13</c:v>
                </c:pt>
                <c:pt idx="127">
                  <c:v>11</c:v>
                </c:pt>
                <c:pt idx="128">
                  <c:v>13</c:v>
                </c:pt>
                <c:pt idx="129">
                  <c:v>14</c:v>
                </c:pt>
                <c:pt idx="130">
                  <c:v>15</c:v>
                </c:pt>
                <c:pt idx="131">
                  <c:v>15</c:v>
                </c:pt>
                <c:pt idx="132">
                  <c:v>13</c:v>
                </c:pt>
                <c:pt idx="133">
                  <c:v>14</c:v>
                </c:pt>
                <c:pt idx="134">
                  <c:v>14</c:v>
                </c:pt>
                <c:pt idx="135">
                  <c:v>13</c:v>
                </c:pt>
                <c:pt idx="136">
                  <c:v>12</c:v>
                </c:pt>
                <c:pt idx="137">
                  <c:v>14</c:v>
                </c:pt>
                <c:pt idx="138">
                  <c:v>13</c:v>
                </c:pt>
                <c:pt idx="139">
                  <c:v>12</c:v>
                </c:pt>
                <c:pt idx="140">
                  <c:v>14</c:v>
                </c:pt>
                <c:pt idx="141">
                  <c:v>14</c:v>
                </c:pt>
                <c:pt idx="142">
                  <c:v>13</c:v>
                </c:pt>
                <c:pt idx="143">
                  <c:v>12</c:v>
                </c:pt>
                <c:pt idx="144">
                  <c:v>14</c:v>
                </c:pt>
                <c:pt idx="145">
                  <c:v>15</c:v>
                </c:pt>
                <c:pt idx="146">
                  <c:v>14</c:v>
                </c:pt>
                <c:pt idx="147">
                  <c:v>14</c:v>
                </c:pt>
                <c:pt idx="148">
                  <c:v>16</c:v>
                </c:pt>
                <c:pt idx="149">
                  <c:v>16</c:v>
                </c:pt>
                <c:pt idx="150">
                  <c:v>18</c:v>
                </c:pt>
                <c:pt idx="151">
                  <c:v>18</c:v>
                </c:pt>
                <c:pt idx="152">
                  <c:v>17</c:v>
                </c:pt>
                <c:pt idx="153">
                  <c:v>15</c:v>
                </c:pt>
                <c:pt idx="154">
                  <c:v>15</c:v>
                </c:pt>
                <c:pt idx="155">
                  <c:v>14</c:v>
                </c:pt>
                <c:pt idx="156">
                  <c:v>14</c:v>
                </c:pt>
                <c:pt idx="157">
                  <c:v>15</c:v>
                </c:pt>
                <c:pt idx="158">
                  <c:v>15</c:v>
                </c:pt>
                <c:pt idx="159">
                  <c:v>17</c:v>
                </c:pt>
                <c:pt idx="160">
                  <c:v>12</c:v>
                </c:pt>
                <c:pt idx="161">
                  <c:v>20</c:v>
                </c:pt>
                <c:pt idx="162">
                  <c:v>22</c:v>
                </c:pt>
                <c:pt idx="163">
                  <c:v>21</c:v>
                </c:pt>
                <c:pt idx="164">
                  <c:v>22</c:v>
                </c:pt>
                <c:pt idx="165">
                  <c:v>23</c:v>
                </c:pt>
                <c:pt idx="166">
                  <c:v>22</c:v>
                </c:pt>
                <c:pt idx="167">
                  <c:v>21</c:v>
                </c:pt>
                <c:pt idx="168">
                  <c:v>21</c:v>
                </c:pt>
                <c:pt idx="169">
                  <c:v>22</c:v>
                </c:pt>
                <c:pt idx="170">
                  <c:v>25</c:v>
                </c:pt>
                <c:pt idx="171">
                  <c:v>27</c:v>
                </c:pt>
                <c:pt idx="172">
                  <c:v>27</c:v>
                </c:pt>
                <c:pt idx="173">
                  <c:v>24</c:v>
                </c:pt>
                <c:pt idx="174">
                  <c:v>26</c:v>
                </c:pt>
                <c:pt idx="175">
                  <c:v>29</c:v>
                </c:pt>
                <c:pt idx="176">
                  <c:v>33</c:v>
                </c:pt>
                <c:pt idx="177">
                  <c:v>29</c:v>
                </c:pt>
                <c:pt idx="178">
                  <c:v>31</c:v>
                </c:pt>
                <c:pt idx="179">
                  <c:v>34</c:v>
                </c:pt>
                <c:pt idx="180">
                  <c:v>37</c:v>
                </c:pt>
                <c:pt idx="181">
                  <c:v>37</c:v>
                </c:pt>
                <c:pt idx="182">
                  <c:v>39</c:v>
                </c:pt>
                <c:pt idx="183">
                  <c:v>40</c:v>
                </c:pt>
                <c:pt idx="184">
                  <c:v>45</c:v>
                </c:pt>
                <c:pt idx="185">
                  <c:v>49</c:v>
                </c:pt>
                <c:pt idx="186">
                  <c:v>46</c:v>
                </c:pt>
                <c:pt idx="187">
                  <c:v>51</c:v>
                </c:pt>
                <c:pt idx="188">
                  <c:v>49</c:v>
                </c:pt>
                <c:pt idx="189">
                  <c:v>52</c:v>
                </c:pt>
                <c:pt idx="190">
                  <c:v>53</c:v>
                </c:pt>
                <c:pt idx="191">
                  <c:v>50</c:v>
                </c:pt>
                <c:pt idx="192">
                  <c:v>55</c:v>
                </c:pt>
                <c:pt idx="193">
                  <c:v>58</c:v>
                </c:pt>
                <c:pt idx="194">
                  <c:v>62</c:v>
                </c:pt>
                <c:pt idx="195">
                  <c:v>57</c:v>
                </c:pt>
                <c:pt idx="196">
                  <c:v>63</c:v>
                </c:pt>
                <c:pt idx="197">
                  <c:v>70</c:v>
                </c:pt>
                <c:pt idx="198">
                  <c:v>70</c:v>
                </c:pt>
                <c:pt idx="199">
                  <c:v>74</c:v>
                </c:pt>
                <c:pt idx="200">
                  <c:v>81</c:v>
                </c:pt>
                <c:pt idx="201">
                  <c:v>98</c:v>
                </c:pt>
                <c:pt idx="202">
                  <c:v>112</c:v>
                </c:pt>
                <c:pt idx="203">
                  <c:v>122</c:v>
                </c:pt>
                <c:pt idx="204">
                  <c:v>144</c:v>
                </c:pt>
                <c:pt idx="205">
                  <c:v>137</c:v>
                </c:pt>
                <c:pt idx="206">
                  <c:v>147</c:v>
                </c:pt>
                <c:pt idx="207">
                  <c:v>157</c:v>
                </c:pt>
                <c:pt idx="208">
                  <c:v>158</c:v>
                </c:pt>
                <c:pt idx="209">
                  <c:v>163</c:v>
                </c:pt>
                <c:pt idx="210">
                  <c:v>178</c:v>
                </c:pt>
                <c:pt idx="211">
                  <c:v>191</c:v>
                </c:pt>
                <c:pt idx="212">
                  <c:v>197</c:v>
                </c:pt>
                <c:pt idx="213">
                  <c:v>196</c:v>
                </c:pt>
                <c:pt idx="214">
                  <c:v>219</c:v>
                </c:pt>
                <c:pt idx="215">
                  <c:v>225</c:v>
                </c:pt>
                <c:pt idx="216">
                  <c:v>254</c:v>
                </c:pt>
                <c:pt idx="217">
                  <c:v>268</c:v>
                </c:pt>
                <c:pt idx="218">
                  <c:v>282</c:v>
                </c:pt>
                <c:pt idx="219">
                  <c:v>316</c:v>
                </c:pt>
                <c:pt idx="220">
                  <c:v>346</c:v>
                </c:pt>
                <c:pt idx="221">
                  <c:v>358</c:v>
                </c:pt>
                <c:pt idx="222">
                  <c:v>389</c:v>
                </c:pt>
                <c:pt idx="223">
                  <c:v>420</c:v>
                </c:pt>
                <c:pt idx="224">
                  <c:v>411</c:v>
                </c:pt>
                <c:pt idx="225">
                  <c:v>435</c:v>
                </c:pt>
                <c:pt idx="226">
                  <c:v>452</c:v>
                </c:pt>
                <c:pt idx="227">
                  <c:v>478</c:v>
                </c:pt>
                <c:pt idx="228">
                  <c:v>514</c:v>
                </c:pt>
                <c:pt idx="229">
                  <c:v>555</c:v>
                </c:pt>
                <c:pt idx="230">
                  <c:v>573</c:v>
                </c:pt>
                <c:pt idx="231">
                  <c:v>598</c:v>
                </c:pt>
                <c:pt idx="232">
                  <c:v>622</c:v>
                </c:pt>
                <c:pt idx="233">
                  <c:v>642</c:v>
                </c:pt>
                <c:pt idx="234">
                  <c:v>704</c:v>
                </c:pt>
                <c:pt idx="235">
                  <c:v>751</c:v>
                </c:pt>
                <c:pt idx="236">
                  <c:v>762</c:v>
                </c:pt>
                <c:pt idx="237">
                  <c:v>760</c:v>
                </c:pt>
                <c:pt idx="238">
                  <c:v>802</c:v>
                </c:pt>
                <c:pt idx="239">
                  <c:v>884</c:v>
                </c:pt>
                <c:pt idx="240">
                  <c:v>876</c:v>
                </c:pt>
                <c:pt idx="241">
                  <c:v>889</c:v>
                </c:pt>
                <c:pt idx="242">
                  <c:v>995</c:v>
                </c:pt>
                <c:pt idx="243">
                  <c:v>1030</c:v>
                </c:pt>
                <c:pt idx="244">
                  <c:v>1069</c:v>
                </c:pt>
                <c:pt idx="245">
                  <c:v>1118</c:v>
                </c:pt>
                <c:pt idx="246">
                  <c:v>1154</c:v>
                </c:pt>
                <c:pt idx="247">
                  <c:v>1180</c:v>
                </c:pt>
                <c:pt idx="248">
                  <c:v>1166</c:v>
                </c:pt>
                <c:pt idx="249">
                  <c:v>1176</c:v>
                </c:pt>
                <c:pt idx="250">
                  <c:v>1212</c:v>
                </c:pt>
                <c:pt idx="251">
                  <c:v>1157</c:v>
                </c:pt>
                <c:pt idx="252">
                  <c:v>1167</c:v>
                </c:pt>
                <c:pt idx="253">
                  <c:v>1181</c:v>
                </c:pt>
                <c:pt idx="254">
                  <c:v>1169</c:v>
                </c:pt>
                <c:pt idx="255">
                  <c:v>1110</c:v>
                </c:pt>
                <c:pt idx="256">
                  <c:v>1105</c:v>
                </c:pt>
                <c:pt idx="257">
                  <c:v>1101</c:v>
                </c:pt>
                <c:pt idx="258">
                  <c:v>1068</c:v>
                </c:pt>
                <c:pt idx="259">
                  <c:v>1045</c:v>
                </c:pt>
                <c:pt idx="260">
                  <c:v>1040</c:v>
                </c:pt>
                <c:pt idx="261">
                  <c:v>996</c:v>
                </c:pt>
                <c:pt idx="262">
                  <c:v>1007</c:v>
                </c:pt>
                <c:pt idx="263">
                  <c:v>974</c:v>
                </c:pt>
                <c:pt idx="264">
                  <c:v>960</c:v>
                </c:pt>
                <c:pt idx="265">
                  <c:v>944</c:v>
                </c:pt>
                <c:pt idx="266">
                  <c:v>958</c:v>
                </c:pt>
                <c:pt idx="267">
                  <c:v>950</c:v>
                </c:pt>
                <c:pt idx="268">
                  <c:v>881</c:v>
                </c:pt>
                <c:pt idx="269">
                  <c:v>856</c:v>
                </c:pt>
                <c:pt idx="270">
                  <c:v>843</c:v>
                </c:pt>
                <c:pt idx="271">
                  <c:v>800</c:v>
                </c:pt>
                <c:pt idx="272">
                  <c:v>780</c:v>
                </c:pt>
                <c:pt idx="273">
                  <c:v>765</c:v>
                </c:pt>
                <c:pt idx="274">
                  <c:v>791</c:v>
                </c:pt>
                <c:pt idx="275">
                  <c:v>733</c:v>
                </c:pt>
                <c:pt idx="276">
                  <c:v>717</c:v>
                </c:pt>
                <c:pt idx="277">
                  <c:v>718</c:v>
                </c:pt>
                <c:pt idx="278">
                  <c:v>715</c:v>
                </c:pt>
                <c:pt idx="279">
                  <c:v>692</c:v>
                </c:pt>
                <c:pt idx="280">
                  <c:v>680</c:v>
                </c:pt>
                <c:pt idx="281">
                  <c:v>713</c:v>
                </c:pt>
                <c:pt idx="282">
                  <c:v>701</c:v>
                </c:pt>
                <c:pt idx="283">
                  <c:v>686</c:v>
                </c:pt>
                <c:pt idx="284">
                  <c:v>711</c:v>
                </c:pt>
                <c:pt idx="285">
                  <c:v>700</c:v>
                </c:pt>
                <c:pt idx="286">
                  <c:v>695</c:v>
                </c:pt>
                <c:pt idx="287">
                  <c:v>709</c:v>
                </c:pt>
                <c:pt idx="288">
                  <c:v>727</c:v>
                </c:pt>
                <c:pt idx="289">
                  <c:v>724</c:v>
                </c:pt>
                <c:pt idx="290">
                  <c:v>734</c:v>
                </c:pt>
                <c:pt idx="291">
                  <c:v>724</c:v>
                </c:pt>
                <c:pt idx="292">
                  <c:v>728</c:v>
                </c:pt>
                <c:pt idx="293">
                  <c:v>745</c:v>
                </c:pt>
                <c:pt idx="294">
                  <c:v>754</c:v>
                </c:pt>
                <c:pt idx="295">
                  <c:v>764</c:v>
                </c:pt>
                <c:pt idx="296">
                  <c:v>769</c:v>
                </c:pt>
                <c:pt idx="297">
                  <c:v>779</c:v>
                </c:pt>
                <c:pt idx="298">
                  <c:v>748</c:v>
                </c:pt>
                <c:pt idx="299">
                  <c:v>769</c:v>
                </c:pt>
                <c:pt idx="300">
                  <c:v>806</c:v>
                </c:pt>
                <c:pt idx="301">
                  <c:v>846</c:v>
                </c:pt>
                <c:pt idx="302">
                  <c:v>906</c:v>
                </c:pt>
                <c:pt idx="303">
                  <c:v>941</c:v>
                </c:pt>
                <c:pt idx="304">
                  <c:v>956</c:v>
                </c:pt>
                <c:pt idx="305">
                  <c:v>974</c:v>
                </c:pt>
                <c:pt idx="306">
                  <c:v>951</c:v>
                </c:pt>
                <c:pt idx="307">
                  <c:v>962</c:v>
                </c:pt>
                <c:pt idx="308">
                  <c:v>1009</c:v>
                </c:pt>
                <c:pt idx="309">
                  <c:v>1093</c:v>
                </c:pt>
                <c:pt idx="310">
                  <c:v>1114</c:v>
                </c:pt>
                <c:pt idx="311">
                  <c:v>1153</c:v>
                </c:pt>
                <c:pt idx="312">
                  <c:v>1150</c:v>
                </c:pt>
                <c:pt idx="313">
                  <c:v>1142</c:v>
                </c:pt>
                <c:pt idx="314">
                  <c:v>1149</c:v>
                </c:pt>
                <c:pt idx="315">
                  <c:v>1176</c:v>
                </c:pt>
                <c:pt idx="316">
                  <c:v>1189</c:v>
                </c:pt>
                <c:pt idx="317">
                  <c:v>1177</c:v>
                </c:pt>
                <c:pt idx="318">
                  <c:v>1173</c:v>
                </c:pt>
                <c:pt idx="319">
                  <c:v>1184</c:v>
                </c:pt>
                <c:pt idx="320">
                  <c:v>1175</c:v>
                </c:pt>
                <c:pt idx="321">
                  <c:v>1166</c:v>
                </c:pt>
                <c:pt idx="322">
                  <c:v>1137</c:v>
                </c:pt>
                <c:pt idx="323">
                  <c:v>1161</c:v>
                </c:pt>
                <c:pt idx="324">
                  <c:v>1142</c:v>
                </c:pt>
                <c:pt idx="325">
                  <c:v>1117</c:v>
                </c:pt>
                <c:pt idx="326">
                  <c:v>1110</c:v>
                </c:pt>
                <c:pt idx="327">
                  <c:v>1112</c:v>
                </c:pt>
                <c:pt idx="328">
                  <c:v>1092</c:v>
                </c:pt>
                <c:pt idx="329">
                  <c:v>1058</c:v>
                </c:pt>
                <c:pt idx="330">
                  <c:v>1081</c:v>
                </c:pt>
                <c:pt idx="331">
                  <c:v>1046</c:v>
                </c:pt>
                <c:pt idx="332">
                  <c:v>1038</c:v>
                </c:pt>
                <c:pt idx="333">
                  <c:v>1017</c:v>
                </c:pt>
                <c:pt idx="334">
                  <c:v>1019</c:v>
                </c:pt>
                <c:pt idx="335">
                  <c:v>1021</c:v>
                </c:pt>
                <c:pt idx="336">
                  <c:v>1039</c:v>
                </c:pt>
                <c:pt idx="337">
                  <c:v>1077</c:v>
                </c:pt>
                <c:pt idx="338">
                  <c:v>1089</c:v>
                </c:pt>
                <c:pt idx="339">
                  <c:v>1075</c:v>
                </c:pt>
                <c:pt idx="340">
                  <c:v>1101</c:v>
                </c:pt>
                <c:pt idx="341">
                  <c:v>1087</c:v>
                </c:pt>
                <c:pt idx="342">
                  <c:v>1070</c:v>
                </c:pt>
                <c:pt idx="343">
                  <c:v>1098</c:v>
                </c:pt>
                <c:pt idx="344">
                  <c:v>1107</c:v>
                </c:pt>
                <c:pt idx="345">
                  <c:v>1093</c:v>
                </c:pt>
                <c:pt idx="346">
                  <c:v>1110</c:v>
                </c:pt>
                <c:pt idx="347">
                  <c:v>1116</c:v>
                </c:pt>
                <c:pt idx="348">
                  <c:v>1113</c:v>
                </c:pt>
                <c:pt idx="349">
                  <c:v>1106</c:v>
                </c:pt>
                <c:pt idx="350">
                  <c:v>1146</c:v>
                </c:pt>
                <c:pt idx="351">
                  <c:v>1170</c:v>
                </c:pt>
                <c:pt idx="352">
                  <c:v>1214</c:v>
                </c:pt>
                <c:pt idx="353">
                  <c:v>1241</c:v>
                </c:pt>
                <c:pt idx="354">
                  <c:v>1266</c:v>
                </c:pt>
                <c:pt idx="355">
                  <c:v>1268</c:v>
                </c:pt>
                <c:pt idx="356">
                  <c:v>1266</c:v>
                </c:pt>
                <c:pt idx="357">
                  <c:v>1281</c:v>
                </c:pt>
                <c:pt idx="358">
                  <c:v>1360</c:v>
                </c:pt>
                <c:pt idx="359">
                  <c:v>1388</c:v>
                </c:pt>
                <c:pt idx="360">
                  <c:v>1407</c:v>
                </c:pt>
                <c:pt idx="361">
                  <c:v>1462</c:v>
                </c:pt>
                <c:pt idx="362">
                  <c:v>1438</c:v>
                </c:pt>
                <c:pt idx="363">
                  <c:v>1467</c:v>
                </c:pt>
                <c:pt idx="364">
                  <c:v>1504</c:v>
                </c:pt>
                <c:pt idx="365">
                  <c:v>1584</c:v>
                </c:pt>
                <c:pt idx="366">
                  <c:v>1595</c:v>
                </c:pt>
                <c:pt idx="367">
                  <c:v>1624</c:v>
                </c:pt>
                <c:pt idx="368">
                  <c:v>1652</c:v>
                </c:pt>
                <c:pt idx="369">
                  <c:v>1670</c:v>
                </c:pt>
                <c:pt idx="370">
                  <c:v>1674</c:v>
                </c:pt>
                <c:pt idx="371">
                  <c:v>1679</c:v>
                </c:pt>
                <c:pt idx="372">
                  <c:v>1774</c:v>
                </c:pt>
                <c:pt idx="373">
                  <c:v>1801</c:v>
                </c:pt>
                <c:pt idx="374">
                  <c:v>1829</c:v>
                </c:pt>
                <c:pt idx="375">
                  <c:v>1818</c:v>
                </c:pt>
                <c:pt idx="376">
                  <c:v>1829</c:v>
                </c:pt>
                <c:pt idx="377">
                  <c:v>1779</c:v>
                </c:pt>
                <c:pt idx="378">
                  <c:v>1825</c:v>
                </c:pt>
                <c:pt idx="379">
                  <c:v>1883</c:v>
                </c:pt>
                <c:pt idx="380">
                  <c:v>1892</c:v>
                </c:pt>
                <c:pt idx="381">
                  <c:v>1857</c:v>
                </c:pt>
                <c:pt idx="382">
                  <c:v>1857</c:v>
                </c:pt>
                <c:pt idx="383">
                  <c:v>1817</c:v>
                </c:pt>
                <c:pt idx="384">
                  <c:v>1778</c:v>
                </c:pt>
                <c:pt idx="385">
                  <c:v>1802</c:v>
                </c:pt>
                <c:pt idx="386">
                  <c:v>1822</c:v>
                </c:pt>
                <c:pt idx="387">
                  <c:v>1772</c:v>
                </c:pt>
                <c:pt idx="388">
                  <c:v>1739</c:v>
                </c:pt>
                <c:pt idx="389">
                  <c:v>1739</c:v>
                </c:pt>
                <c:pt idx="390">
                  <c:v>1674</c:v>
                </c:pt>
                <c:pt idx="391">
                  <c:v>1639</c:v>
                </c:pt>
                <c:pt idx="392">
                  <c:v>1651</c:v>
                </c:pt>
                <c:pt idx="393">
                  <c:v>1662</c:v>
                </c:pt>
                <c:pt idx="394">
                  <c:v>1611</c:v>
                </c:pt>
                <c:pt idx="395">
                  <c:v>1550</c:v>
                </c:pt>
                <c:pt idx="396">
                  <c:v>1501</c:v>
                </c:pt>
                <c:pt idx="397">
                  <c:v>1419</c:v>
                </c:pt>
                <c:pt idx="398">
                  <c:v>1395</c:v>
                </c:pt>
                <c:pt idx="399">
                  <c:v>1376</c:v>
                </c:pt>
                <c:pt idx="400">
                  <c:v>1342</c:v>
                </c:pt>
                <c:pt idx="401">
                  <c:v>1389</c:v>
                </c:pt>
                <c:pt idx="402">
                  <c:v>1356</c:v>
                </c:pt>
                <c:pt idx="403">
                  <c:v>1311</c:v>
                </c:pt>
                <c:pt idx="404">
                  <c:v>1232</c:v>
                </c:pt>
                <c:pt idx="405">
                  <c:v>1212</c:v>
                </c:pt>
                <c:pt idx="406">
                  <c:v>1193</c:v>
                </c:pt>
                <c:pt idx="407">
                  <c:v>1181</c:v>
                </c:pt>
                <c:pt idx="408">
                  <c:v>1152</c:v>
                </c:pt>
                <c:pt idx="409">
                  <c:v>1108</c:v>
                </c:pt>
                <c:pt idx="410">
                  <c:v>1031</c:v>
                </c:pt>
                <c:pt idx="411">
                  <c:v>1009</c:v>
                </c:pt>
                <c:pt idx="412">
                  <c:v>971</c:v>
                </c:pt>
                <c:pt idx="413">
                  <c:v>973</c:v>
                </c:pt>
                <c:pt idx="414">
                  <c:v>991</c:v>
                </c:pt>
                <c:pt idx="415">
                  <c:v>940</c:v>
                </c:pt>
                <c:pt idx="416">
                  <c:v>906</c:v>
                </c:pt>
                <c:pt idx="417">
                  <c:v>836</c:v>
                </c:pt>
                <c:pt idx="418">
                  <c:v>789</c:v>
                </c:pt>
                <c:pt idx="419">
                  <c:v>752</c:v>
                </c:pt>
                <c:pt idx="420">
                  <c:v>760</c:v>
                </c:pt>
                <c:pt idx="421">
                  <c:v>737</c:v>
                </c:pt>
                <c:pt idx="422">
                  <c:v>712</c:v>
                </c:pt>
                <c:pt idx="423">
                  <c:v>685</c:v>
                </c:pt>
                <c:pt idx="424">
                  <c:v>636</c:v>
                </c:pt>
                <c:pt idx="425">
                  <c:v>576</c:v>
                </c:pt>
                <c:pt idx="426">
                  <c:v>550</c:v>
                </c:pt>
                <c:pt idx="427">
                  <c:v>555</c:v>
                </c:pt>
                <c:pt idx="428">
                  <c:v>560</c:v>
                </c:pt>
                <c:pt idx="429">
                  <c:v>540</c:v>
                </c:pt>
                <c:pt idx="430">
                  <c:v>498</c:v>
                </c:pt>
                <c:pt idx="431">
                  <c:v>462</c:v>
                </c:pt>
                <c:pt idx="432">
                  <c:v>437</c:v>
                </c:pt>
                <c:pt idx="433">
                  <c:v>410</c:v>
                </c:pt>
                <c:pt idx="434">
                  <c:v>414</c:v>
                </c:pt>
                <c:pt idx="435">
                  <c:v>421</c:v>
                </c:pt>
                <c:pt idx="436">
                  <c:v>399</c:v>
                </c:pt>
                <c:pt idx="437">
                  <c:v>376</c:v>
                </c:pt>
                <c:pt idx="438">
                  <c:v>365</c:v>
                </c:pt>
                <c:pt idx="439">
                  <c:v>338</c:v>
                </c:pt>
                <c:pt idx="440">
                  <c:v>304</c:v>
                </c:pt>
                <c:pt idx="441">
                  <c:v>300</c:v>
                </c:pt>
                <c:pt idx="442">
                  <c:v>292</c:v>
                </c:pt>
                <c:pt idx="443">
                  <c:v>275</c:v>
                </c:pt>
                <c:pt idx="444">
                  <c:v>246</c:v>
                </c:pt>
                <c:pt idx="445">
                  <c:v>216</c:v>
                </c:pt>
                <c:pt idx="446">
                  <c:v>190</c:v>
                </c:pt>
                <c:pt idx="447">
                  <c:v>186</c:v>
                </c:pt>
                <c:pt idx="448">
                  <c:v>184</c:v>
                </c:pt>
                <c:pt idx="449">
                  <c:v>180</c:v>
                </c:pt>
                <c:pt idx="450">
                  <c:v>159</c:v>
                </c:pt>
                <c:pt idx="451">
                  <c:v>152</c:v>
                </c:pt>
                <c:pt idx="452">
                  <c:v>143</c:v>
                </c:pt>
                <c:pt idx="453">
                  <c:v>124</c:v>
                </c:pt>
                <c:pt idx="454">
                  <c:v>111</c:v>
                </c:pt>
                <c:pt idx="455">
                  <c:v>111</c:v>
                </c:pt>
                <c:pt idx="456">
                  <c:v>116</c:v>
                </c:pt>
                <c:pt idx="457">
                  <c:v>97</c:v>
                </c:pt>
                <c:pt idx="458">
                  <c:v>89</c:v>
                </c:pt>
                <c:pt idx="459">
                  <c:v>83</c:v>
                </c:pt>
                <c:pt idx="460">
                  <c:v>70</c:v>
                </c:pt>
                <c:pt idx="461">
                  <c:v>58</c:v>
                </c:pt>
                <c:pt idx="462">
                  <c:v>59</c:v>
                </c:pt>
                <c:pt idx="463">
                  <c:v>57</c:v>
                </c:pt>
                <c:pt idx="464">
                  <c:v>58</c:v>
                </c:pt>
                <c:pt idx="465">
                  <c:v>55</c:v>
                </c:pt>
                <c:pt idx="466">
                  <c:v>52</c:v>
                </c:pt>
                <c:pt idx="467">
                  <c:v>37</c:v>
                </c:pt>
                <c:pt idx="468">
                  <c:v>36</c:v>
                </c:pt>
                <c:pt idx="469">
                  <c:v>34</c:v>
                </c:pt>
                <c:pt idx="470">
                  <c:v>36</c:v>
                </c:pt>
                <c:pt idx="471">
                  <c:v>26</c:v>
                </c:pt>
                <c:pt idx="472">
                  <c:v>24</c:v>
                </c:pt>
                <c:pt idx="473">
                  <c:v>23</c:v>
                </c:pt>
                <c:pt idx="474">
                  <c:v>21</c:v>
                </c:pt>
                <c:pt idx="475">
                  <c:v>18</c:v>
                </c:pt>
                <c:pt idx="476">
                  <c:v>20</c:v>
                </c:pt>
                <c:pt idx="477">
                  <c:v>18</c:v>
                </c:pt>
                <c:pt idx="478">
                  <c:v>17</c:v>
                </c:pt>
                <c:pt idx="479">
                  <c:v>14</c:v>
                </c:pt>
                <c:pt idx="480">
                  <c:v>16</c:v>
                </c:pt>
                <c:pt idx="481">
                  <c:v>16</c:v>
                </c:pt>
                <c:pt idx="482">
                  <c:v>13</c:v>
                </c:pt>
                <c:pt idx="483">
                  <c:v>12</c:v>
                </c:pt>
                <c:pt idx="484">
                  <c:v>14</c:v>
                </c:pt>
                <c:pt idx="485">
                  <c:v>15</c:v>
                </c:pt>
                <c:pt idx="486">
                  <c:v>13</c:v>
                </c:pt>
                <c:pt idx="487">
                  <c:v>14</c:v>
                </c:pt>
                <c:pt idx="488">
                  <c:v>7</c:v>
                </c:pt>
                <c:pt idx="489">
                  <c:v>6</c:v>
                </c:pt>
                <c:pt idx="490">
                  <c:v>7</c:v>
                </c:pt>
                <c:pt idx="491">
                  <c:v>11</c:v>
                </c:pt>
                <c:pt idx="492">
                  <c:v>11</c:v>
                </c:pt>
                <c:pt idx="493">
                  <c:v>12</c:v>
                </c:pt>
                <c:pt idx="494">
                  <c:v>11</c:v>
                </c:pt>
                <c:pt idx="495">
                  <c:v>8</c:v>
                </c:pt>
                <c:pt idx="496">
                  <c:v>7</c:v>
                </c:pt>
                <c:pt idx="497">
                  <c:v>8</c:v>
                </c:pt>
                <c:pt idx="498">
                  <c:v>9</c:v>
                </c:pt>
                <c:pt idx="499">
                  <c:v>8</c:v>
                </c:pt>
                <c:pt idx="500">
                  <c:v>9</c:v>
                </c:pt>
                <c:pt idx="501">
                  <c:v>9</c:v>
                </c:pt>
                <c:pt idx="502">
                  <c:v>10</c:v>
                </c:pt>
                <c:pt idx="503">
                  <c:v>9</c:v>
                </c:pt>
                <c:pt idx="504">
                  <c:v>10</c:v>
                </c:pt>
                <c:pt idx="505">
                  <c:v>10</c:v>
                </c:pt>
                <c:pt idx="506">
                  <c:v>5</c:v>
                </c:pt>
                <c:pt idx="507">
                  <c:v>8</c:v>
                </c:pt>
                <c:pt idx="508">
                  <c:v>12</c:v>
                </c:pt>
                <c:pt idx="509">
                  <c:v>11</c:v>
                </c:pt>
                <c:pt idx="510">
                  <c:v>8</c:v>
                </c:pt>
                <c:pt idx="511">
                  <c:v>9</c:v>
                </c:pt>
                <c:pt idx="512">
                  <c:v>9</c:v>
                </c:pt>
                <c:pt idx="513">
                  <c:v>10</c:v>
                </c:pt>
                <c:pt idx="514">
                  <c:v>11</c:v>
                </c:pt>
                <c:pt idx="515">
                  <c:v>14</c:v>
                </c:pt>
                <c:pt idx="516">
                  <c:v>16</c:v>
                </c:pt>
                <c:pt idx="517">
                  <c:v>17</c:v>
                </c:pt>
                <c:pt idx="518">
                  <c:v>16</c:v>
                </c:pt>
                <c:pt idx="519">
                  <c:v>14</c:v>
                </c:pt>
                <c:pt idx="520">
                  <c:v>16</c:v>
                </c:pt>
                <c:pt idx="521">
                  <c:v>17</c:v>
                </c:pt>
                <c:pt idx="522">
                  <c:v>16</c:v>
                </c:pt>
                <c:pt idx="523">
                  <c:v>14</c:v>
                </c:pt>
                <c:pt idx="524">
                  <c:v>12</c:v>
                </c:pt>
                <c:pt idx="525">
                  <c:v>15</c:v>
                </c:pt>
                <c:pt idx="526">
                  <c:v>17</c:v>
                </c:pt>
                <c:pt idx="527">
                  <c:v>16</c:v>
                </c:pt>
                <c:pt idx="528">
                  <c:v>18</c:v>
                </c:pt>
                <c:pt idx="529">
                  <c:v>18</c:v>
                </c:pt>
                <c:pt idx="530">
                  <c:v>17</c:v>
                </c:pt>
                <c:pt idx="531">
                  <c:v>18</c:v>
                </c:pt>
                <c:pt idx="532">
                  <c:v>15</c:v>
                </c:pt>
                <c:pt idx="533">
                  <c:v>17</c:v>
                </c:pt>
                <c:pt idx="534">
                  <c:v>17</c:v>
                </c:pt>
                <c:pt idx="535">
                  <c:v>16</c:v>
                </c:pt>
                <c:pt idx="536">
                  <c:v>17</c:v>
                </c:pt>
                <c:pt idx="537">
                  <c:v>17</c:v>
                </c:pt>
                <c:pt idx="538">
                  <c:v>15</c:v>
                </c:pt>
                <c:pt idx="539">
                  <c:v>16</c:v>
                </c:pt>
                <c:pt idx="540">
                  <c:v>17</c:v>
                </c:pt>
                <c:pt idx="541">
                  <c:v>15</c:v>
                </c:pt>
                <c:pt idx="542">
                  <c:v>17</c:v>
                </c:pt>
                <c:pt idx="543">
                  <c:v>15</c:v>
                </c:pt>
                <c:pt idx="544">
                  <c:v>13</c:v>
                </c:pt>
                <c:pt idx="545">
                  <c:v>12</c:v>
                </c:pt>
                <c:pt idx="546">
                  <c:v>8</c:v>
                </c:pt>
                <c:pt idx="547">
                  <c:v>9</c:v>
                </c:pt>
                <c:pt idx="548">
                  <c:v>9</c:v>
                </c:pt>
                <c:pt idx="549">
                  <c:v>11</c:v>
                </c:pt>
                <c:pt idx="550">
                  <c:v>12</c:v>
                </c:pt>
                <c:pt idx="551">
                  <c:v>14</c:v>
                </c:pt>
                <c:pt idx="552">
                  <c:v>16</c:v>
                </c:pt>
                <c:pt idx="553">
                  <c:v>16</c:v>
                </c:pt>
                <c:pt idx="554">
                  <c:v>23</c:v>
                </c:pt>
                <c:pt idx="555">
                  <c:v>26</c:v>
                </c:pt>
                <c:pt idx="556">
                  <c:v>24</c:v>
                </c:pt>
                <c:pt idx="557">
                  <c:v>22</c:v>
                </c:pt>
                <c:pt idx="558">
                  <c:v>24</c:v>
                </c:pt>
                <c:pt idx="559">
                  <c:v>27</c:v>
                </c:pt>
                <c:pt idx="560">
                  <c:v>31</c:v>
                </c:pt>
                <c:pt idx="561">
                  <c:v>35</c:v>
                </c:pt>
                <c:pt idx="562">
                  <c:v>38</c:v>
                </c:pt>
                <c:pt idx="563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C6-448C-BE25-46910E061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27"/>
        <c:axId val="1779122608"/>
        <c:axId val="1827373472"/>
      </c:barChart>
      <c:dateAx>
        <c:axId val="1779122608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27373472"/>
        <c:crosses val="autoZero"/>
        <c:auto val="1"/>
        <c:lblOffset val="100"/>
        <c:baseTimeUnit val="days"/>
      </c:dateAx>
      <c:valAx>
        <c:axId val="1827373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779122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C$2:$C$53</c:f>
              <c:numCache>
                <c:formatCode>0</c:formatCode>
                <c:ptCount val="52"/>
                <c:pt idx="0">
                  <c:v>390.14285714285643</c:v>
                </c:pt>
                <c:pt idx="1">
                  <c:v>455.14285714285734</c:v>
                </c:pt>
                <c:pt idx="2">
                  <c:v>487.71428571428498</c:v>
                </c:pt>
                <c:pt idx="3">
                  <c:v>493.85714285714278</c:v>
                </c:pt>
                <c:pt idx="4">
                  <c:v>473.85714285714226</c:v>
                </c:pt>
                <c:pt idx="5">
                  <c:v>472.28571428571439</c:v>
                </c:pt>
                <c:pt idx="6">
                  <c:v>491.5714285714289</c:v>
                </c:pt>
                <c:pt idx="7">
                  <c:v>496.57142857142838</c:v>
                </c:pt>
                <c:pt idx="8">
                  <c:v>503.71428571428567</c:v>
                </c:pt>
                <c:pt idx="9">
                  <c:v>469.00000000000028</c:v>
                </c:pt>
                <c:pt idx="10">
                  <c:v>469.57142857142844</c:v>
                </c:pt>
                <c:pt idx="11">
                  <c:v>471.85714285714283</c:v>
                </c:pt>
                <c:pt idx="12">
                  <c:v>471.28571428571468</c:v>
                </c:pt>
                <c:pt idx="13">
                  <c:v>453.00000000000006</c:v>
                </c:pt>
                <c:pt idx="14">
                  <c:v>448.14285714285705</c:v>
                </c:pt>
                <c:pt idx="15">
                  <c:v>437.14285714285717</c:v>
                </c:pt>
                <c:pt idx="16">
                  <c:v>449.42857142857105</c:v>
                </c:pt>
                <c:pt idx="17">
                  <c:v>434.57142857142924</c:v>
                </c:pt>
                <c:pt idx="18">
                  <c:v>407.28571428571439</c:v>
                </c:pt>
                <c:pt idx="19">
                  <c:v>432.42857142857162</c:v>
                </c:pt>
                <c:pt idx="20">
                  <c:v>445.57142857142895</c:v>
                </c:pt>
                <c:pt idx="21">
                  <c:v>452.14285714285728</c:v>
                </c:pt>
                <c:pt idx="22">
                  <c:v>439.28571428571456</c:v>
                </c:pt>
                <c:pt idx="23">
                  <c:v>445.28571428571433</c:v>
                </c:pt>
                <c:pt idx="24">
                  <c:v>442.57142857142907</c:v>
                </c:pt>
                <c:pt idx="25">
                  <c:v>433.14285714285728</c:v>
                </c:pt>
                <c:pt idx="26">
                  <c:v>364.57142857142827</c:v>
                </c:pt>
                <c:pt idx="27">
                  <c:v>395.99999999999943</c:v>
                </c:pt>
                <c:pt idx="28">
                  <c:v>390.85714285714283</c:v>
                </c:pt>
                <c:pt idx="29">
                  <c:v>376.57142857142833</c:v>
                </c:pt>
                <c:pt idx="30">
                  <c:v>375.42857142857093</c:v>
                </c:pt>
                <c:pt idx="31">
                  <c:v>380.28571428571382</c:v>
                </c:pt>
                <c:pt idx="32">
                  <c:v>374.28571428571468</c:v>
                </c:pt>
                <c:pt idx="33">
                  <c:v>382.57142857142856</c:v>
                </c:pt>
                <c:pt idx="34">
                  <c:v>390.71428571428567</c:v>
                </c:pt>
                <c:pt idx="35">
                  <c:v>402.42857142857167</c:v>
                </c:pt>
                <c:pt idx="36">
                  <c:v>408.57142857142782</c:v>
                </c:pt>
                <c:pt idx="37">
                  <c:v>427.99999999999972</c:v>
                </c:pt>
                <c:pt idx="38">
                  <c:v>442.4285714285715</c:v>
                </c:pt>
                <c:pt idx="39">
                  <c:v>436.85714285714278</c:v>
                </c:pt>
                <c:pt idx="40">
                  <c:v>449.14285714285677</c:v>
                </c:pt>
                <c:pt idx="41">
                  <c:v>444.00000000000028</c:v>
                </c:pt>
                <c:pt idx="42">
                  <c:v>434.4285714285715</c:v>
                </c:pt>
                <c:pt idx="43">
                  <c:v>446.28571428571405</c:v>
                </c:pt>
                <c:pt idx="44">
                  <c:v>454.28571428571439</c:v>
                </c:pt>
                <c:pt idx="45">
                  <c:v>401.71428571428675</c:v>
                </c:pt>
                <c:pt idx="46">
                  <c:v>455.42857142857162</c:v>
                </c:pt>
                <c:pt idx="47">
                  <c:v>455.57142857142935</c:v>
                </c:pt>
                <c:pt idx="48">
                  <c:v>440.99999999999955</c:v>
                </c:pt>
                <c:pt idx="49">
                  <c:v>422.57142857142856</c:v>
                </c:pt>
                <c:pt idx="50">
                  <c:v>422.14285714285785</c:v>
                </c:pt>
                <c:pt idx="51">
                  <c:v>378.57142857142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98-4CA8-9E3E-BFDF603266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D31145">
                <a:lumMod val="40000"/>
                <a:lumOff val="60000"/>
              </a:srgbClr>
            </a:solidFill>
            <a:ln>
              <a:noFill/>
            </a:ln>
            <a:effectLst/>
          </c:spP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D$2:$D$53</c:f>
              <c:numCache>
                <c:formatCode>0</c:formatCode>
                <c:ptCount val="52"/>
                <c:pt idx="0">
                  <c:v>117.00000000000074</c:v>
                </c:pt>
                <c:pt idx="1">
                  <c:v>92.857142857143003</c:v>
                </c:pt>
                <c:pt idx="2">
                  <c:v>66.000000000001023</c:v>
                </c:pt>
                <c:pt idx="3">
                  <c:v>50.142857142856315</c:v>
                </c:pt>
                <c:pt idx="4">
                  <c:v>122.71428571428675</c:v>
                </c:pt>
                <c:pt idx="5">
                  <c:v>61.999999999999602</c:v>
                </c:pt>
                <c:pt idx="6">
                  <c:v>57.428571428570422</c:v>
                </c:pt>
                <c:pt idx="7">
                  <c:v>44.285714285715414</c:v>
                </c:pt>
                <c:pt idx="8">
                  <c:v>104.85714285714494</c:v>
                </c:pt>
                <c:pt idx="9">
                  <c:v>109.99999999999994</c:v>
                </c:pt>
                <c:pt idx="10">
                  <c:v>117.00000000000023</c:v>
                </c:pt>
                <c:pt idx="11">
                  <c:v>76.99999999999892</c:v>
                </c:pt>
                <c:pt idx="12">
                  <c:v>95.714285714285438</c:v>
                </c:pt>
                <c:pt idx="13">
                  <c:v>100.71428571428493</c:v>
                </c:pt>
                <c:pt idx="14">
                  <c:v>104.57142857142884</c:v>
                </c:pt>
                <c:pt idx="15">
                  <c:v>74.857142857144083</c:v>
                </c:pt>
                <c:pt idx="16">
                  <c:v>89.571428571429749</c:v>
                </c:pt>
                <c:pt idx="17">
                  <c:v>104.28571428571274</c:v>
                </c:pt>
                <c:pt idx="18">
                  <c:v>111.71428571428595</c:v>
                </c:pt>
                <c:pt idx="19">
                  <c:v>46.428571428571445</c:v>
                </c:pt>
                <c:pt idx="20">
                  <c:v>42.142857142856656</c:v>
                </c:pt>
                <c:pt idx="21">
                  <c:v>50.857142857142605</c:v>
                </c:pt>
                <c:pt idx="22">
                  <c:v>35.285714285714278</c:v>
                </c:pt>
                <c:pt idx="23">
                  <c:v>56.999999999999886</c:v>
                </c:pt>
                <c:pt idx="24">
                  <c:v>21.428571428571388</c:v>
                </c:pt>
                <c:pt idx="25">
                  <c:v>87.285714285714619</c:v>
                </c:pt>
                <c:pt idx="26">
                  <c:v>52.285714285714562</c:v>
                </c:pt>
                <c:pt idx="27">
                  <c:v>62.714285714286518</c:v>
                </c:pt>
                <c:pt idx="28">
                  <c:v>67.142857142856428</c:v>
                </c:pt>
                <c:pt idx="29">
                  <c:v>79.285714285714164</c:v>
                </c:pt>
                <c:pt idx="30">
                  <c:v>82.714285714286291</c:v>
                </c:pt>
                <c:pt idx="31">
                  <c:v>34.142857142857622</c:v>
                </c:pt>
                <c:pt idx="32">
                  <c:v>61.714285714284983</c:v>
                </c:pt>
                <c:pt idx="33">
                  <c:v>57.571428571428726</c:v>
                </c:pt>
                <c:pt idx="34">
                  <c:v>87.571428571428385</c:v>
                </c:pt>
                <c:pt idx="35">
                  <c:v>37.714285714286063</c:v>
                </c:pt>
                <c:pt idx="36">
                  <c:v>29.428571428572241</c:v>
                </c:pt>
                <c:pt idx="37">
                  <c:v>57.57142857142918</c:v>
                </c:pt>
                <c:pt idx="38">
                  <c:v>16.428571428571217</c:v>
                </c:pt>
                <c:pt idx="39">
                  <c:v>47.714285714285325</c:v>
                </c:pt>
                <c:pt idx="40">
                  <c:v>25.142857142858077</c:v>
                </c:pt>
                <c:pt idx="41">
                  <c:v>43.142857142856712</c:v>
                </c:pt>
                <c:pt idx="42">
                  <c:v>81.857142857143401</c:v>
                </c:pt>
                <c:pt idx="43">
                  <c:v>118.1428571428583</c:v>
                </c:pt>
                <c:pt idx="44">
                  <c:v>58.285714285715528</c:v>
                </c:pt>
                <c:pt idx="45">
                  <c:v>79.142857142857224</c:v>
                </c:pt>
                <c:pt idx="46">
                  <c:v>43.857142857141639</c:v>
                </c:pt>
                <c:pt idx="47">
                  <c:v>162.28571428571388</c:v>
                </c:pt>
                <c:pt idx="48">
                  <c:v>85.571428571428214</c:v>
                </c:pt>
                <c:pt idx="49">
                  <c:v>132.14285714285688</c:v>
                </c:pt>
                <c:pt idx="50">
                  <c:v>87.285714285713254</c:v>
                </c:pt>
                <c:pt idx="51">
                  <c:v>106.28571428571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98-4CA8-9E3E-BFDF60326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2805536"/>
        <c:axId val="1993892816"/>
      </c:areaChar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</c:v>
                </c:pt>
              </c:strCache>
            </c:strRef>
          </c:tx>
          <c:spPr>
            <a:ln w="28575" cap="rnd">
              <a:solidFill>
                <a:srgbClr val="D31145"/>
              </a:solidFill>
              <a:round/>
            </a:ln>
            <a:effectLst/>
          </c:spPr>
          <c:marker>
            <c:symbol val="none"/>
          </c:marke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B$2:$B$53</c:f>
              <c:numCache>
                <c:formatCode>0</c:formatCode>
                <c:ptCount val="52"/>
                <c:pt idx="0">
                  <c:v>442.28571428571416</c:v>
                </c:pt>
                <c:pt idx="1">
                  <c:v>487.05714285714288</c:v>
                </c:pt>
                <c:pt idx="2">
                  <c:v>507.6857142857142</c:v>
                </c:pt>
                <c:pt idx="3">
                  <c:v>515.14285714285711</c:v>
                </c:pt>
                <c:pt idx="4">
                  <c:v>529.45714285714268</c:v>
                </c:pt>
                <c:pt idx="5">
                  <c:v>503.39999999999981</c:v>
                </c:pt>
                <c:pt idx="6">
                  <c:v>516.22857142857117</c:v>
                </c:pt>
                <c:pt idx="7">
                  <c:v>518.34285714285738</c:v>
                </c:pt>
                <c:pt idx="8">
                  <c:v>549.05714285714339</c:v>
                </c:pt>
                <c:pt idx="9">
                  <c:v>509.62857142857155</c:v>
                </c:pt>
                <c:pt idx="10">
                  <c:v>522.60000000000014</c:v>
                </c:pt>
                <c:pt idx="11">
                  <c:v>500.19999999999959</c:v>
                </c:pt>
                <c:pt idx="12">
                  <c:v>510.1142857142857</c:v>
                </c:pt>
                <c:pt idx="13">
                  <c:v>488.37142857142857</c:v>
                </c:pt>
                <c:pt idx="14">
                  <c:v>487.71428571428584</c:v>
                </c:pt>
                <c:pt idx="15">
                  <c:v>476.48571428571472</c:v>
                </c:pt>
                <c:pt idx="16">
                  <c:v>482.57142857142856</c:v>
                </c:pt>
                <c:pt idx="17">
                  <c:v>479.51428571428579</c:v>
                </c:pt>
                <c:pt idx="18">
                  <c:v>449.48571428571421</c:v>
                </c:pt>
                <c:pt idx="19">
                  <c:v>456.37142857142834</c:v>
                </c:pt>
                <c:pt idx="20">
                  <c:v>465.28571428571428</c:v>
                </c:pt>
                <c:pt idx="21">
                  <c:v>471.14285714285734</c:v>
                </c:pt>
                <c:pt idx="22">
                  <c:v>455.77142857142866</c:v>
                </c:pt>
                <c:pt idx="23">
                  <c:v>460.42857142857144</c:v>
                </c:pt>
                <c:pt idx="24">
                  <c:v>453.74285714285708</c:v>
                </c:pt>
                <c:pt idx="25">
                  <c:v>470.42857142857156</c:v>
                </c:pt>
                <c:pt idx="26">
                  <c:v>393.79999999999978</c:v>
                </c:pt>
                <c:pt idx="27">
                  <c:v>431.48571428571415</c:v>
                </c:pt>
                <c:pt idx="28">
                  <c:v>425.22857142857117</c:v>
                </c:pt>
                <c:pt idx="29">
                  <c:v>406.57142857142856</c:v>
                </c:pt>
                <c:pt idx="30">
                  <c:v>410.51428571428568</c:v>
                </c:pt>
                <c:pt idx="31">
                  <c:v>398.5999999999998</c:v>
                </c:pt>
                <c:pt idx="32">
                  <c:v>393.68571428571408</c:v>
                </c:pt>
                <c:pt idx="33">
                  <c:v>406.3714285714284</c:v>
                </c:pt>
                <c:pt idx="34">
                  <c:v>428.65714285714273</c:v>
                </c:pt>
                <c:pt idx="35">
                  <c:v>418.54285714285726</c:v>
                </c:pt>
                <c:pt idx="36">
                  <c:v>425.51428571428551</c:v>
                </c:pt>
                <c:pt idx="37">
                  <c:v>448.08571428571446</c:v>
                </c:pt>
                <c:pt idx="38">
                  <c:v>451.82857142857142</c:v>
                </c:pt>
                <c:pt idx="39">
                  <c:v>461.85714285714249</c:v>
                </c:pt>
                <c:pt idx="40">
                  <c:v>456.77142857142854</c:v>
                </c:pt>
                <c:pt idx="41">
                  <c:v>467.48571428571427</c:v>
                </c:pt>
                <c:pt idx="42">
                  <c:v>467.14285714285722</c:v>
                </c:pt>
                <c:pt idx="43">
                  <c:v>474.71428571428584</c:v>
                </c:pt>
                <c:pt idx="44">
                  <c:v>473.25714285714298</c:v>
                </c:pt>
                <c:pt idx="45">
                  <c:v>457.22857142857191</c:v>
                </c:pt>
                <c:pt idx="46">
                  <c:v>475.59999999999991</c:v>
                </c:pt>
                <c:pt idx="47">
                  <c:v>513.68571428571465</c:v>
                </c:pt>
                <c:pt idx="48">
                  <c:v>467.05714285714248</c:v>
                </c:pt>
                <c:pt idx="49">
                  <c:v>463.97142857142865</c:v>
                </c:pt>
                <c:pt idx="50">
                  <c:v>460.17142857142863</c:v>
                </c:pt>
                <c:pt idx="51">
                  <c:v>408.05714285714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698-4CA8-9E3E-BFDF60326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2805536"/>
        <c:axId val="1993892816"/>
      </c:lineChart>
      <c:catAx>
        <c:axId val="1812805536"/>
        <c:scaling>
          <c:orientation val="minMax"/>
        </c:scaling>
        <c:delete val="0"/>
        <c:axPos val="b"/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3892816"/>
        <c:crosses val="autoZero"/>
        <c:auto val="1"/>
        <c:lblAlgn val="ctr"/>
        <c:lblOffset val="100"/>
        <c:tickLblSkip val="3"/>
        <c:noMultiLvlLbl val="1"/>
      </c:catAx>
      <c:valAx>
        <c:axId val="19938928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12805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C$2:$C$53</c:f>
              <c:numCache>
                <c:formatCode>0</c:formatCode>
                <c:ptCount val="52"/>
                <c:pt idx="0">
                  <c:v>2608.0000000000105</c:v>
                </c:pt>
                <c:pt idx="1">
                  <c:v>3044.1428571428696</c:v>
                </c:pt>
                <c:pt idx="2">
                  <c:v>3112.4285714285711</c:v>
                </c:pt>
                <c:pt idx="3">
                  <c:v>3143.0000000000014</c:v>
                </c:pt>
                <c:pt idx="4">
                  <c:v>3108.428571428557</c:v>
                </c:pt>
                <c:pt idx="5">
                  <c:v>3121.8571428571518</c:v>
                </c:pt>
                <c:pt idx="6">
                  <c:v>3109.9999999999986</c:v>
                </c:pt>
                <c:pt idx="7">
                  <c:v>3101.428571428572</c:v>
                </c:pt>
                <c:pt idx="8">
                  <c:v>3126.714285714278</c:v>
                </c:pt>
                <c:pt idx="9">
                  <c:v>3092.1428571428637</c:v>
                </c:pt>
                <c:pt idx="10">
                  <c:v>3058.5714285714284</c:v>
                </c:pt>
                <c:pt idx="11">
                  <c:v>3078.5714285714121</c:v>
                </c:pt>
                <c:pt idx="12">
                  <c:v>2999.5714285714198</c:v>
                </c:pt>
                <c:pt idx="13">
                  <c:v>3043.7142857142858</c:v>
                </c:pt>
                <c:pt idx="14">
                  <c:v>3040.5714285714316</c:v>
                </c:pt>
                <c:pt idx="15">
                  <c:v>2899.2857142857169</c:v>
                </c:pt>
                <c:pt idx="16">
                  <c:v>3031.7142857142849</c:v>
                </c:pt>
                <c:pt idx="17">
                  <c:v>2964.5714285714271</c:v>
                </c:pt>
                <c:pt idx="18">
                  <c:v>2919.8571428571463</c:v>
                </c:pt>
                <c:pt idx="19">
                  <c:v>2964.571428571438</c:v>
                </c:pt>
                <c:pt idx="20">
                  <c:v>3004.857142857144</c:v>
                </c:pt>
                <c:pt idx="21">
                  <c:v>3032.4285714285761</c:v>
                </c:pt>
                <c:pt idx="22">
                  <c:v>3011.1428571428573</c:v>
                </c:pt>
                <c:pt idx="23">
                  <c:v>3013.1428571428428</c:v>
                </c:pt>
                <c:pt idx="24">
                  <c:v>2997.7142857142903</c:v>
                </c:pt>
                <c:pt idx="25">
                  <c:v>2930.2857142857138</c:v>
                </c:pt>
                <c:pt idx="26">
                  <c:v>2547.142857142861</c:v>
                </c:pt>
                <c:pt idx="27">
                  <c:v>2612.0000000000132</c:v>
                </c:pt>
                <c:pt idx="28">
                  <c:v>2600.4285714285879</c:v>
                </c:pt>
                <c:pt idx="29">
                  <c:v>2579.1428571428487</c:v>
                </c:pt>
                <c:pt idx="30">
                  <c:v>2534.1428571428505</c:v>
                </c:pt>
                <c:pt idx="31">
                  <c:v>2550.9999999999905</c:v>
                </c:pt>
                <c:pt idx="32">
                  <c:v>2614.0000000000005</c:v>
                </c:pt>
                <c:pt idx="33">
                  <c:v>2653.7142857142826</c:v>
                </c:pt>
                <c:pt idx="34">
                  <c:v>2724.2857142857215</c:v>
                </c:pt>
                <c:pt idx="35">
                  <c:v>2863.4285714285697</c:v>
                </c:pt>
                <c:pt idx="36">
                  <c:v>2935.5714285714407</c:v>
                </c:pt>
                <c:pt idx="37">
                  <c:v>2980.2857142857242</c:v>
                </c:pt>
                <c:pt idx="38">
                  <c:v>2920.5714285714239</c:v>
                </c:pt>
                <c:pt idx="39">
                  <c:v>2990.8571428571586</c:v>
                </c:pt>
                <c:pt idx="40">
                  <c:v>3053.1428571428492</c:v>
                </c:pt>
                <c:pt idx="41">
                  <c:v>3023.1428571428555</c:v>
                </c:pt>
                <c:pt idx="42">
                  <c:v>3018.0000000000005</c:v>
                </c:pt>
                <c:pt idx="43">
                  <c:v>3024.2857142857124</c:v>
                </c:pt>
                <c:pt idx="44">
                  <c:v>3042.0000000000036</c:v>
                </c:pt>
                <c:pt idx="45">
                  <c:v>2928.1428571428464</c:v>
                </c:pt>
                <c:pt idx="46">
                  <c:v>3038.4285714285684</c:v>
                </c:pt>
                <c:pt idx="47">
                  <c:v>3026.5714285714312</c:v>
                </c:pt>
                <c:pt idx="48">
                  <c:v>3011.1428571428523</c:v>
                </c:pt>
                <c:pt idx="49">
                  <c:v>2941.8571428571499</c:v>
                </c:pt>
                <c:pt idx="50">
                  <c:v>2630.5714285714262</c:v>
                </c:pt>
                <c:pt idx="51">
                  <c:v>2319.2857142857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D3-4641-A0CB-FE3855B2B83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89AAD3"/>
            </a:solidFill>
            <a:ln>
              <a:noFill/>
            </a:ln>
            <a:effectLst/>
          </c:spP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D$2:$D$53</c:f>
              <c:numCache>
                <c:formatCode>0</c:formatCode>
                <c:ptCount val="52"/>
                <c:pt idx="0">
                  <c:v>462.85714285712038</c:v>
                </c:pt>
                <c:pt idx="1">
                  <c:v>223.42857142856155</c:v>
                </c:pt>
                <c:pt idx="2">
                  <c:v>243.71428571429169</c:v>
                </c:pt>
                <c:pt idx="3">
                  <c:v>150.14285714286461</c:v>
                </c:pt>
                <c:pt idx="4">
                  <c:v>285.71428571430215</c:v>
                </c:pt>
                <c:pt idx="5">
                  <c:v>172.57142857141116</c:v>
                </c:pt>
                <c:pt idx="6">
                  <c:v>158.0000000000291</c:v>
                </c:pt>
                <c:pt idx="7">
                  <c:v>242.57142857141253</c:v>
                </c:pt>
                <c:pt idx="8">
                  <c:v>253.85714285714812</c:v>
                </c:pt>
                <c:pt idx="9">
                  <c:v>187.71428571426304</c:v>
                </c:pt>
                <c:pt idx="10">
                  <c:v>222.42857142856201</c:v>
                </c:pt>
                <c:pt idx="11">
                  <c:v>217.57142857145118</c:v>
                </c:pt>
                <c:pt idx="12">
                  <c:v>400.57142857144345</c:v>
                </c:pt>
                <c:pt idx="13">
                  <c:v>226.57142857143026</c:v>
                </c:pt>
                <c:pt idx="14">
                  <c:v>245.42857142856155</c:v>
                </c:pt>
                <c:pt idx="15">
                  <c:v>371.00000000000364</c:v>
                </c:pt>
                <c:pt idx="16">
                  <c:v>217.14285714285188</c:v>
                </c:pt>
                <c:pt idx="17">
                  <c:v>318.14285714287007</c:v>
                </c:pt>
                <c:pt idx="18">
                  <c:v>240.28571428571331</c:v>
                </c:pt>
                <c:pt idx="19">
                  <c:v>274.57142857142344</c:v>
                </c:pt>
                <c:pt idx="20">
                  <c:v>161.14285714286234</c:v>
                </c:pt>
                <c:pt idx="21">
                  <c:v>186.85714285715585</c:v>
                </c:pt>
                <c:pt idx="22">
                  <c:v>126.71428571427759</c:v>
                </c:pt>
                <c:pt idx="23">
                  <c:v>152.14285714286325</c:v>
                </c:pt>
                <c:pt idx="24">
                  <c:v>178.28571428571968</c:v>
                </c:pt>
                <c:pt idx="25">
                  <c:v>300.8571428571513</c:v>
                </c:pt>
                <c:pt idx="26">
                  <c:v>265.14285714283824</c:v>
                </c:pt>
                <c:pt idx="27">
                  <c:v>300.42857142856246</c:v>
                </c:pt>
                <c:pt idx="28">
                  <c:v>287.71428571426623</c:v>
                </c:pt>
                <c:pt idx="29">
                  <c:v>265.71428571428442</c:v>
                </c:pt>
                <c:pt idx="30">
                  <c:v>239.42857142858657</c:v>
                </c:pt>
                <c:pt idx="31">
                  <c:v>163.00000000001637</c:v>
                </c:pt>
                <c:pt idx="32">
                  <c:v>138.14285714286189</c:v>
                </c:pt>
                <c:pt idx="33">
                  <c:v>147.28571428573105</c:v>
                </c:pt>
                <c:pt idx="34">
                  <c:v>293.57142857142935</c:v>
                </c:pt>
                <c:pt idx="35">
                  <c:v>102.71428571427896</c:v>
                </c:pt>
                <c:pt idx="36">
                  <c:v>67.714285714278958</c:v>
                </c:pt>
                <c:pt idx="37">
                  <c:v>128.57142857140934</c:v>
                </c:pt>
                <c:pt idx="38">
                  <c:v>138.28571428570331</c:v>
                </c:pt>
                <c:pt idx="39">
                  <c:v>276.28571428570785</c:v>
                </c:pt>
                <c:pt idx="40">
                  <c:v>105.28571428571013</c:v>
                </c:pt>
                <c:pt idx="41">
                  <c:v>149.57142857143936</c:v>
                </c:pt>
                <c:pt idx="42">
                  <c:v>204.71428571427487</c:v>
                </c:pt>
                <c:pt idx="43">
                  <c:v>298.71428571427714</c:v>
                </c:pt>
                <c:pt idx="44">
                  <c:v>184.85714285712902</c:v>
                </c:pt>
                <c:pt idx="45">
                  <c:v>192.14285714287462</c:v>
                </c:pt>
                <c:pt idx="46">
                  <c:v>239.71428571429487</c:v>
                </c:pt>
                <c:pt idx="47">
                  <c:v>441.85714285713038</c:v>
                </c:pt>
                <c:pt idx="48">
                  <c:v>222.71428571427532</c:v>
                </c:pt>
                <c:pt idx="49">
                  <c:v>281.28571428570922</c:v>
                </c:pt>
                <c:pt idx="50">
                  <c:v>367.14285714287007</c:v>
                </c:pt>
                <c:pt idx="51">
                  <c:v>410.28571428574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D3-4641-A0CB-FE3855B2B8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2805536"/>
        <c:axId val="1993892816"/>
      </c:areaChar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Sheet1!$A$2:$A$53</c:f>
              <c:numCache>
                <c:formatCode>#,##0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cat>
          <c:val>
            <c:numRef>
              <c:f>Sheet1!$B$2:$B$53</c:f>
              <c:numCache>
                <c:formatCode>0</c:formatCode>
                <c:ptCount val="52"/>
                <c:pt idx="0">
                  <c:v>2820.3142857142875</c:v>
                </c:pt>
                <c:pt idx="1">
                  <c:v>3155.2857142857138</c:v>
                </c:pt>
                <c:pt idx="2">
                  <c:v>3204.5142857142837</c:v>
                </c:pt>
                <c:pt idx="3">
                  <c:v>3216.9142857142829</c:v>
                </c:pt>
                <c:pt idx="4">
                  <c:v>3237.3142857142798</c:v>
                </c:pt>
                <c:pt idx="5">
                  <c:v>3178.1714285714284</c:v>
                </c:pt>
                <c:pt idx="6">
                  <c:v>3177.2857142857183</c:v>
                </c:pt>
                <c:pt idx="7">
                  <c:v>3199.7142857142844</c:v>
                </c:pt>
                <c:pt idx="8">
                  <c:v>3237.8857142857159</c:v>
                </c:pt>
                <c:pt idx="9">
                  <c:v>3177.4285714285725</c:v>
                </c:pt>
                <c:pt idx="10">
                  <c:v>3189.2857142857165</c:v>
                </c:pt>
                <c:pt idx="11">
                  <c:v>3179.0857142857108</c:v>
                </c:pt>
                <c:pt idx="12">
                  <c:v>3140.171428571432</c:v>
                </c:pt>
                <c:pt idx="13">
                  <c:v>3111.5714285714275</c:v>
                </c:pt>
                <c:pt idx="14">
                  <c:v>3137.8571428571445</c:v>
                </c:pt>
                <c:pt idx="15">
                  <c:v>3102.5142857142932</c:v>
                </c:pt>
                <c:pt idx="16">
                  <c:v>3109.8285714285707</c:v>
                </c:pt>
                <c:pt idx="17">
                  <c:v>3107.3142857142861</c:v>
                </c:pt>
                <c:pt idx="18">
                  <c:v>3007.6857142857152</c:v>
                </c:pt>
                <c:pt idx="19">
                  <c:v>3070.2285714285763</c:v>
                </c:pt>
                <c:pt idx="20">
                  <c:v>3084.8857142857069</c:v>
                </c:pt>
                <c:pt idx="21">
                  <c:v>3111.0571428571448</c:v>
                </c:pt>
                <c:pt idx="22">
                  <c:v>3051.1999999999994</c:v>
                </c:pt>
                <c:pt idx="23">
                  <c:v>3063.9999999999991</c:v>
                </c:pt>
                <c:pt idx="24">
                  <c:v>3058.3428571428572</c:v>
                </c:pt>
                <c:pt idx="25">
                  <c:v>3054.8571428571486</c:v>
                </c:pt>
                <c:pt idx="26">
                  <c:v>2652.685714285717</c:v>
                </c:pt>
                <c:pt idx="27">
                  <c:v>2770.2000000000057</c:v>
                </c:pt>
                <c:pt idx="28">
                  <c:v>2731.2285714285722</c:v>
                </c:pt>
                <c:pt idx="29">
                  <c:v>2683.5428571428538</c:v>
                </c:pt>
                <c:pt idx="30">
                  <c:v>2636.1714285714306</c:v>
                </c:pt>
                <c:pt idx="31">
                  <c:v>2604.3428571428567</c:v>
                </c:pt>
                <c:pt idx="32">
                  <c:v>2657.9714285714304</c:v>
                </c:pt>
                <c:pt idx="33">
                  <c:v>2708.8571428571454</c:v>
                </c:pt>
                <c:pt idx="34">
                  <c:v>2831.0000000000041</c:v>
                </c:pt>
                <c:pt idx="35">
                  <c:v>2916.8857142857169</c:v>
                </c:pt>
                <c:pt idx="36">
                  <c:v>2982.2285714285722</c:v>
                </c:pt>
                <c:pt idx="37">
                  <c:v>3013.5999999999985</c:v>
                </c:pt>
                <c:pt idx="38">
                  <c:v>2993.1999999999948</c:v>
                </c:pt>
                <c:pt idx="39">
                  <c:v>3085.028571428576</c:v>
                </c:pt>
                <c:pt idx="40">
                  <c:v>3092.5714285714253</c:v>
                </c:pt>
                <c:pt idx="41">
                  <c:v>3091.9142857142865</c:v>
                </c:pt>
                <c:pt idx="42">
                  <c:v>3071.5142857142846</c:v>
                </c:pt>
                <c:pt idx="43">
                  <c:v>3100.3142857142871</c:v>
                </c:pt>
                <c:pt idx="44">
                  <c:v>3115.914285714281</c:v>
                </c:pt>
                <c:pt idx="45">
                  <c:v>3047.8571428571386</c:v>
                </c:pt>
                <c:pt idx="46">
                  <c:v>3130.0285714285733</c:v>
                </c:pt>
                <c:pt idx="47">
                  <c:v>3178.2285714285758</c:v>
                </c:pt>
                <c:pt idx="48">
                  <c:v>3096.1142857142831</c:v>
                </c:pt>
                <c:pt idx="49">
                  <c:v>3031.0000000000009</c:v>
                </c:pt>
                <c:pt idx="50">
                  <c:v>2783.1428571428564</c:v>
                </c:pt>
                <c:pt idx="51">
                  <c:v>2443.45714285714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D3-4641-A0CB-FE3855B2B8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2805536"/>
        <c:axId val="1993892816"/>
      </c:lineChart>
      <c:catAx>
        <c:axId val="1812805536"/>
        <c:scaling>
          <c:orientation val="minMax"/>
        </c:scaling>
        <c:delete val="0"/>
        <c:axPos val="b"/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3892816"/>
        <c:crosses val="autoZero"/>
        <c:auto val="1"/>
        <c:lblAlgn val="ctr"/>
        <c:lblOffset val="100"/>
        <c:tickLblSkip val="3"/>
        <c:noMultiLvlLbl val="1"/>
      </c:catAx>
      <c:valAx>
        <c:axId val="19938928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12805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IP</c:v>
                </c:pt>
              </c:strCache>
            </c:strRef>
          </c:tx>
          <c:spPr>
            <a:solidFill>
              <a:srgbClr val="4D7FBC"/>
            </a:solidFill>
            <a:ln>
              <a:noFill/>
            </a:ln>
            <a:effectLst/>
          </c:spPr>
          <c:invertIfNegative val="0"/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B$2:$B$533</c:f>
              <c:numCache>
                <c:formatCode>General</c:formatCode>
                <c:ptCount val="532"/>
                <c:pt idx="15">
                  <c:v>3</c:v>
                </c:pt>
                <c:pt idx="16">
                  <c:v>7</c:v>
                </c:pt>
                <c:pt idx="17">
                  <c:v>9</c:v>
                </c:pt>
                <c:pt idx="18">
                  <c:v>10</c:v>
                </c:pt>
                <c:pt idx="19">
                  <c:v>16</c:v>
                </c:pt>
                <c:pt idx="20">
                  <c:v>18</c:v>
                </c:pt>
                <c:pt idx="21">
                  <c:v>27</c:v>
                </c:pt>
                <c:pt idx="22">
                  <c:v>31</c:v>
                </c:pt>
                <c:pt idx="23">
                  <c:v>41</c:v>
                </c:pt>
                <c:pt idx="24">
                  <c:v>54</c:v>
                </c:pt>
                <c:pt idx="25">
                  <c:v>51</c:v>
                </c:pt>
                <c:pt idx="26">
                  <c:v>59</c:v>
                </c:pt>
                <c:pt idx="27">
                  <c:v>63</c:v>
                </c:pt>
                <c:pt idx="28">
                  <c:v>61</c:v>
                </c:pt>
                <c:pt idx="29">
                  <c:v>73</c:v>
                </c:pt>
                <c:pt idx="30">
                  <c:v>82</c:v>
                </c:pt>
                <c:pt idx="31">
                  <c:v>88</c:v>
                </c:pt>
                <c:pt idx="32">
                  <c:v>87</c:v>
                </c:pt>
                <c:pt idx="33">
                  <c:v>94</c:v>
                </c:pt>
                <c:pt idx="34">
                  <c:v>90</c:v>
                </c:pt>
                <c:pt idx="35">
                  <c:v>91</c:v>
                </c:pt>
                <c:pt idx="36">
                  <c:v>96</c:v>
                </c:pt>
                <c:pt idx="37">
                  <c:v>102</c:v>
                </c:pt>
                <c:pt idx="38">
                  <c:v>96</c:v>
                </c:pt>
                <c:pt idx="39">
                  <c:v>94</c:v>
                </c:pt>
                <c:pt idx="40">
                  <c:v>90</c:v>
                </c:pt>
                <c:pt idx="41">
                  <c:v>94</c:v>
                </c:pt>
                <c:pt idx="42">
                  <c:v>99</c:v>
                </c:pt>
                <c:pt idx="43">
                  <c:v>93</c:v>
                </c:pt>
                <c:pt idx="44">
                  <c:v>83</c:v>
                </c:pt>
                <c:pt idx="45">
                  <c:v>79</c:v>
                </c:pt>
                <c:pt idx="46">
                  <c:v>87</c:v>
                </c:pt>
                <c:pt idx="47">
                  <c:v>86</c:v>
                </c:pt>
                <c:pt idx="48">
                  <c:v>81</c:v>
                </c:pt>
                <c:pt idx="49">
                  <c:v>84</c:v>
                </c:pt>
                <c:pt idx="50">
                  <c:v>86</c:v>
                </c:pt>
                <c:pt idx="51">
                  <c:v>82</c:v>
                </c:pt>
                <c:pt idx="52">
                  <c:v>78</c:v>
                </c:pt>
                <c:pt idx="53">
                  <c:v>75</c:v>
                </c:pt>
                <c:pt idx="54">
                  <c:v>73</c:v>
                </c:pt>
                <c:pt idx="55">
                  <c:v>69</c:v>
                </c:pt>
                <c:pt idx="56">
                  <c:v>67</c:v>
                </c:pt>
                <c:pt idx="57">
                  <c:v>68</c:v>
                </c:pt>
                <c:pt idx="58">
                  <c:v>61</c:v>
                </c:pt>
                <c:pt idx="59">
                  <c:v>60</c:v>
                </c:pt>
                <c:pt idx="60">
                  <c:v>52</c:v>
                </c:pt>
                <c:pt idx="61">
                  <c:v>46</c:v>
                </c:pt>
                <c:pt idx="62">
                  <c:v>47</c:v>
                </c:pt>
                <c:pt idx="63">
                  <c:v>45</c:v>
                </c:pt>
                <c:pt idx="64">
                  <c:v>47</c:v>
                </c:pt>
                <c:pt idx="65">
                  <c:v>37</c:v>
                </c:pt>
                <c:pt idx="66">
                  <c:v>35</c:v>
                </c:pt>
                <c:pt idx="67">
                  <c:v>36</c:v>
                </c:pt>
                <c:pt idx="68">
                  <c:v>40</c:v>
                </c:pt>
                <c:pt idx="69">
                  <c:v>34</c:v>
                </c:pt>
                <c:pt idx="70">
                  <c:v>34</c:v>
                </c:pt>
                <c:pt idx="71">
                  <c:v>35</c:v>
                </c:pt>
                <c:pt idx="72">
                  <c:v>32</c:v>
                </c:pt>
                <c:pt idx="73">
                  <c:v>29</c:v>
                </c:pt>
                <c:pt idx="74">
                  <c:v>29</c:v>
                </c:pt>
                <c:pt idx="75">
                  <c:v>29</c:v>
                </c:pt>
                <c:pt idx="76">
                  <c:v>28</c:v>
                </c:pt>
                <c:pt idx="77">
                  <c:v>28</c:v>
                </c:pt>
                <c:pt idx="78">
                  <c:v>29</c:v>
                </c:pt>
                <c:pt idx="79">
                  <c:v>26</c:v>
                </c:pt>
                <c:pt idx="80">
                  <c:v>25</c:v>
                </c:pt>
                <c:pt idx="81">
                  <c:v>23</c:v>
                </c:pt>
                <c:pt idx="82">
                  <c:v>17</c:v>
                </c:pt>
                <c:pt idx="83">
                  <c:v>18</c:v>
                </c:pt>
                <c:pt idx="84">
                  <c:v>19</c:v>
                </c:pt>
                <c:pt idx="85">
                  <c:v>18</c:v>
                </c:pt>
                <c:pt idx="86">
                  <c:v>16</c:v>
                </c:pt>
                <c:pt idx="87">
                  <c:v>16</c:v>
                </c:pt>
                <c:pt idx="88">
                  <c:v>13</c:v>
                </c:pt>
                <c:pt idx="89">
                  <c:v>12</c:v>
                </c:pt>
                <c:pt idx="90">
                  <c:v>12</c:v>
                </c:pt>
                <c:pt idx="91">
                  <c:v>11</c:v>
                </c:pt>
                <c:pt idx="92">
                  <c:v>11</c:v>
                </c:pt>
                <c:pt idx="93">
                  <c:v>9</c:v>
                </c:pt>
                <c:pt idx="94">
                  <c:v>8</c:v>
                </c:pt>
                <c:pt idx="95">
                  <c:v>8</c:v>
                </c:pt>
                <c:pt idx="96">
                  <c:v>6</c:v>
                </c:pt>
                <c:pt idx="97">
                  <c:v>8</c:v>
                </c:pt>
                <c:pt idx="98">
                  <c:v>9</c:v>
                </c:pt>
                <c:pt idx="99">
                  <c:v>9</c:v>
                </c:pt>
                <c:pt idx="100">
                  <c:v>11</c:v>
                </c:pt>
                <c:pt idx="101">
                  <c:v>12</c:v>
                </c:pt>
                <c:pt idx="102">
                  <c:v>10</c:v>
                </c:pt>
                <c:pt idx="103">
                  <c:v>11</c:v>
                </c:pt>
                <c:pt idx="104">
                  <c:v>10</c:v>
                </c:pt>
                <c:pt idx="105">
                  <c:v>11</c:v>
                </c:pt>
                <c:pt idx="106">
                  <c:v>8</c:v>
                </c:pt>
                <c:pt idx="107">
                  <c:v>4</c:v>
                </c:pt>
                <c:pt idx="108">
                  <c:v>6</c:v>
                </c:pt>
                <c:pt idx="109">
                  <c:v>8</c:v>
                </c:pt>
                <c:pt idx="110">
                  <c:v>7</c:v>
                </c:pt>
                <c:pt idx="111">
                  <c:v>7</c:v>
                </c:pt>
                <c:pt idx="112">
                  <c:v>9</c:v>
                </c:pt>
                <c:pt idx="113">
                  <c:v>9</c:v>
                </c:pt>
                <c:pt idx="114">
                  <c:v>6</c:v>
                </c:pt>
                <c:pt idx="115">
                  <c:v>7</c:v>
                </c:pt>
                <c:pt idx="116">
                  <c:v>9</c:v>
                </c:pt>
                <c:pt idx="117">
                  <c:v>8</c:v>
                </c:pt>
                <c:pt idx="118">
                  <c:v>9</c:v>
                </c:pt>
                <c:pt idx="119">
                  <c:v>10</c:v>
                </c:pt>
                <c:pt idx="120">
                  <c:v>10</c:v>
                </c:pt>
                <c:pt idx="121">
                  <c:v>8</c:v>
                </c:pt>
                <c:pt idx="122">
                  <c:v>10</c:v>
                </c:pt>
                <c:pt idx="123">
                  <c:v>10</c:v>
                </c:pt>
                <c:pt idx="124">
                  <c:v>11</c:v>
                </c:pt>
                <c:pt idx="125">
                  <c:v>11</c:v>
                </c:pt>
                <c:pt idx="126">
                  <c:v>13</c:v>
                </c:pt>
                <c:pt idx="127">
                  <c:v>11</c:v>
                </c:pt>
                <c:pt idx="128">
                  <c:v>13</c:v>
                </c:pt>
                <c:pt idx="129">
                  <c:v>14</c:v>
                </c:pt>
                <c:pt idx="130">
                  <c:v>15</c:v>
                </c:pt>
                <c:pt idx="131">
                  <c:v>15</c:v>
                </c:pt>
                <c:pt idx="132">
                  <c:v>13</c:v>
                </c:pt>
                <c:pt idx="133">
                  <c:v>14</c:v>
                </c:pt>
                <c:pt idx="134">
                  <c:v>14</c:v>
                </c:pt>
                <c:pt idx="135">
                  <c:v>13</c:v>
                </c:pt>
                <c:pt idx="136">
                  <c:v>12</c:v>
                </c:pt>
                <c:pt idx="137">
                  <c:v>14</c:v>
                </c:pt>
                <c:pt idx="138">
                  <c:v>13</c:v>
                </c:pt>
                <c:pt idx="139">
                  <c:v>12</c:v>
                </c:pt>
                <c:pt idx="140">
                  <c:v>14</c:v>
                </c:pt>
                <c:pt idx="141">
                  <c:v>14</c:v>
                </c:pt>
                <c:pt idx="142">
                  <c:v>13</c:v>
                </c:pt>
                <c:pt idx="143">
                  <c:v>12</c:v>
                </c:pt>
                <c:pt idx="144">
                  <c:v>14</c:v>
                </c:pt>
                <c:pt idx="145">
                  <c:v>15</c:v>
                </c:pt>
                <c:pt idx="146">
                  <c:v>14</c:v>
                </c:pt>
                <c:pt idx="147">
                  <c:v>14</c:v>
                </c:pt>
                <c:pt idx="148">
                  <c:v>16</c:v>
                </c:pt>
                <c:pt idx="149">
                  <c:v>16</c:v>
                </c:pt>
                <c:pt idx="150">
                  <c:v>18</c:v>
                </c:pt>
                <c:pt idx="151">
                  <c:v>18</c:v>
                </c:pt>
                <c:pt idx="152">
                  <c:v>17</c:v>
                </c:pt>
                <c:pt idx="153">
                  <c:v>15</c:v>
                </c:pt>
                <c:pt idx="154">
                  <c:v>15</c:v>
                </c:pt>
                <c:pt idx="155">
                  <c:v>14</c:v>
                </c:pt>
                <c:pt idx="156">
                  <c:v>14</c:v>
                </c:pt>
                <c:pt idx="157">
                  <c:v>15</c:v>
                </c:pt>
                <c:pt idx="158">
                  <c:v>15</c:v>
                </c:pt>
                <c:pt idx="159">
                  <c:v>17</c:v>
                </c:pt>
                <c:pt idx="160">
                  <c:v>12</c:v>
                </c:pt>
                <c:pt idx="161">
                  <c:v>20</c:v>
                </c:pt>
                <c:pt idx="162">
                  <c:v>22</c:v>
                </c:pt>
                <c:pt idx="163">
                  <c:v>21</c:v>
                </c:pt>
                <c:pt idx="164">
                  <c:v>22</c:v>
                </c:pt>
                <c:pt idx="165">
                  <c:v>23</c:v>
                </c:pt>
                <c:pt idx="166">
                  <c:v>22</c:v>
                </c:pt>
                <c:pt idx="167">
                  <c:v>21</c:v>
                </c:pt>
                <c:pt idx="168">
                  <c:v>21</c:v>
                </c:pt>
                <c:pt idx="169">
                  <c:v>22</c:v>
                </c:pt>
                <c:pt idx="170">
                  <c:v>25</c:v>
                </c:pt>
                <c:pt idx="171">
                  <c:v>27</c:v>
                </c:pt>
                <c:pt idx="172">
                  <c:v>27</c:v>
                </c:pt>
                <c:pt idx="173">
                  <c:v>24</c:v>
                </c:pt>
                <c:pt idx="174">
                  <c:v>26</c:v>
                </c:pt>
                <c:pt idx="175">
                  <c:v>29</c:v>
                </c:pt>
                <c:pt idx="176">
                  <c:v>33</c:v>
                </c:pt>
                <c:pt idx="177">
                  <c:v>29</c:v>
                </c:pt>
                <c:pt idx="178">
                  <c:v>31</c:v>
                </c:pt>
                <c:pt idx="179">
                  <c:v>34</c:v>
                </c:pt>
                <c:pt idx="180">
                  <c:v>37</c:v>
                </c:pt>
                <c:pt idx="181">
                  <c:v>37</c:v>
                </c:pt>
                <c:pt idx="182">
                  <c:v>39</c:v>
                </c:pt>
                <c:pt idx="183">
                  <c:v>40</c:v>
                </c:pt>
                <c:pt idx="184">
                  <c:v>45</c:v>
                </c:pt>
                <c:pt idx="185">
                  <c:v>49</c:v>
                </c:pt>
                <c:pt idx="186">
                  <c:v>46</c:v>
                </c:pt>
                <c:pt idx="187">
                  <c:v>51</c:v>
                </c:pt>
                <c:pt idx="188">
                  <c:v>49</c:v>
                </c:pt>
                <c:pt idx="189">
                  <c:v>52</c:v>
                </c:pt>
                <c:pt idx="190">
                  <c:v>53</c:v>
                </c:pt>
                <c:pt idx="191">
                  <c:v>50</c:v>
                </c:pt>
                <c:pt idx="192">
                  <c:v>55</c:v>
                </c:pt>
                <c:pt idx="193">
                  <c:v>58</c:v>
                </c:pt>
                <c:pt idx="194">
                  <c:v>62</c:v>
                </c:pt>
                <c:pt idx="195">
                  <c:v>57</c:v>
                </c:pt>
                <c:pt idx="196">
                  <c:v>63</c:v>
                </c:pt>
                <c:pt idx="197">
                  <c:v>70</c:v>
                </c:pt>
                <c:pt idx="198">
                  <c:v>70</c:v>
                </c:pt>
                <c:pt idx="199">
                  <c:v>74</c:v>
                </c:pt>
                <c:pt idx="200">
                  <c:v>81</c:v>
                </c:pt>
                <c:pt idx="201">
                  <c:v>98</c:v>
                </c:pt>
                <c:pt idx="202">
                  <c:v>112</c:v>
                </c:pt>
                <c:pt idx="203">
                  <c:v>122</c:v>
                </c:pt>
                <c:pt idx="204">
                  <c:v>144</c:v>
                </c:pt>
                <c:pt idx="205">
                  <c:v>137</c:v>
                </c:pt>
                <c:pt idx="206">
                  <c:v>147</c:v>
                </c:pt>
                <c:pt idx="207">
                  <c:v>157</c:v>
                </c:pt>
                <c:pt idx="208">
                  <c:v>158</c:v>
                </c:pt>
                <c:pt idx="209">
                  <c:v>163</c:v>
                </c:pt>
                <c:pt idx="210">
                  <c:v>178</c:v>
                </c:pt>
                <c:pt idx="211">
                  <c:v>191</c:v>
                </c:pt>
                <c:pt idx="212">
                  <c:v>197</c:v>
                </c:pt>
                <c:pt idx="213">
                  <c:v>196</c:v>
                </c:pt>
                <c:pt idx="214">
                  <c:v>219</c:v>
                </c:pt>
                <c:pt idx="215">
                  <c:v>225</c:v>
                </c:pt>
                <c:pt idx="216">
                  <c:v>254</c:v>
                </c:pt>
                <c:pt idx="217">
                  <c:v>268</c:v>
                </c:pt>
                <c:pt idx="218">
                  <c:v>282</c:v>
                </c:pt>
                <c:pt idx="219">
                  <c:v>316</c:v>
                </c:pt>
                <c:pt idx="220">
                  <c:v>346</c:v>
                </c:pt>
                <c:pt idx="221">
                  <c:v>358</c:v>
                </c:pt>
                <c:pt idx="222">
                  <c:v>389</c:v>
                </c:pt>
                <c:pt idx="223">
                  <c:v>420</c:v>
                </c:pt>
                <c:pt idx="224">
                  <c:v>411</c:v>
                </c:pt>
                <c:pt idx="225">
                  <c:v>435</c:v>
                </c:pt>
                <c:pt idx="226">
                  <c:v>452</c:v>
                </c:pt>
                <c:pt idx="227">
                  <c:v>478</c:v>
                </c:pt>
                <c:pt idx="228">
                  <c:v>514</c:v>
                </c:pt>
                <c:pt idx="229">
                  <c:v>555</c:v>
                </c:pt>
                <c:pt idx="230">
                  <c:v>573</c:v>
                </c:pt>
                <c:pt idx="231">
                  <c:v>598</c:v>
                </c:pt>
                <c:pt idx="232">
                  <c:v>622</c:v>
                </c:pt>
                <c:pt idx="233">
                  <c:v>642</c:v>
                </c:pt>
                <c:pt idx="234">
                  <c:v>704</c:v>
                </c:pt>
                <c:pt idx="235">
                  <c:v>752</c:v>
                </c:pt>
                <c:pt idx="236">
                  <c:v>762</c:v>
                </c:pt>
                <c:pt idx="237">
                  <c:v>760</c:v>
                </c:pt>
                <c:pt idx="238">
                  <c:v>802</c:v>
                </c:pt>
                <c:pt idx="239">
                  <c:v>884</c:v>
                </c:pt>
                <c:pt idx="240">
                  <c:v>876</c:v>
                </c:pt>
                <c:pt idx="241">
                  <c:v>889</c:v>
                </c:pt>
                <c:pt idx="242">
                  <c:v>995</c:v>
                </c:pt>
                <c:pt idx="243">
                  <c:v>1030</c:v>
                </c:pt>
                <c:pt idx="244">
                  <c:v>1069</c:v>
                </c:pt>
                <c:pt idx="245">
                  <c:v>1118</c:v>
                </c:pt>
                <c:pt idx="246">
                  <c:v>1154</c:v>
                </c:pt>
                <c:pt idx="247">
                  <c:v>1180</c:v>
                </c:pt>
                <c:pt idx="248">
                  <c:v>1166</c:v>
                </c:pt>
                <c:pt idx="249">
                  <c:v>1176</c:v>
                </c:pt>
                <c:pt idx="250">
                  <c:v>1212</c:v>
                </c:pt>
                <c:pt idx="251">
                  <c:v>1157</c:v>
                </c:pt>
                <c:pt idx="252">
                  <c:v>1167</c:v>
                </c:pt>
                <c:pt idx="253">
                  <c:v>1181</c:v>
                </c:pt>
                <c:pt idx="254">
                  <c:v>1169</c:v>
                </c:pt>
                <c:pt idx="255">
                  <c:v>1110</c:v>
                </c:pt>
                <c:pt idx="256">
                  <c:v>1105</c:v>
                </c:pt>
                <c:pt idx="257">
                  <c:v>1101</c:v>
                </c:pt>
                <c:pt idx="258">
                  <c:v>1068</c:v>
                </c:pt>
                <c:pt idx="259">
                  <c:v>1045</c:v>
                </c:pt>
                <c:pt idx="260">
                  <c:v>1040</c:v>
                </c:pt>
                <c:pt idx="261">
                  <c:v>996</c:v>
                </c:pt>
                <c:pt idx="262">
                  <c:v>1007</c:v>
                </c:pt>
                <c:pt idx="263">
                  <c:v>974</c:v>
                </c:pt>
                <c:pt idx="264">
                  <c:v>960</c:v>
                </c:pt>
                <c:pt idx="265">
                  <c:v>944</c:v>
                </c:pt>
                <c:pt idx="266">
                  <c:v>958</c:v>
                </c:pt>
                <c:pt idx="267">
                  <c:v>950</c:v>
                </c:pt>
                <c:pt idx="268">
                  <c:v>881</c:v>
                </c:pt>
                <c:pt idx="269">
                  <c:v>856</c:v>
                </c:pt>
                <c:pt idx="270">
                  <c:v>843</c:v>
                </c:pt>
                <c:pt idx="271">
                  <c:v>800</c:v>
                </c:pt>
                <c:pt idx="272">
                  <c:v>780</c:v>
                </c:pt>
                <c:pt idx="273">
                  <c:v>765</c:v>
                </c:pt>
                <c:pt idx="274">
                  <c:v>791</c:v>
                </c:pt>
                <c:pt idx="275">
                  <c:v>733</c:v>
                </c:pt>
                <c:pt idx="276">
                  <c:v>717</c:v>
                </c:pt>
                <c:pt idx="277">
                  <c:v>718</c:v>
                </c:pt>
                <c:pt idx="278">
                  <c:v>715</c:v>
                </c:pt>
                <c:pt idx="279">
                  <c:v>692</c:v>
                </c:pt>
                <c:pt idx="280">
                  <c:v>680</c:v>
                </c:pt>
                <c:pt idx="281">
                  <c:v>713</c:v>
                </c:pt>
                <c:pt idx="282">
                  <c:v>701</c:v>
                </c:pt>
                <c:pt idx="283">
                  <c:v>686</c:v>
                </c:pt>
                <c:pt idx="284">
                  <c:v>711</c:v>
                </c:pt>
                <c:pt idx="285">
                  <c:v>700</c:v>
                </c:pt>
                <c:pt idx="286">
                  <c:v>695</c:v>
                </c:pt>
                <c:pt idx="287">
                  <c:v>709</c:v>
                </c:pt>
                <c:pt idx="288">
                  <c:v>727</c:v>
                </c:pt>
                <c:pt idx="289">
                  <c:v>724</c:v>
                </c:pt>
                <c:pt idx="290">
                  <c:v>735</c:v>
                </c:pt>
                <c:pt idx="291">
                  <c:v>725</c:v>
                </c:pt>
                <c:pt idx="292">
                  <c:v>729</c:v>
                </c:pt>
                <c:pt idx="293">
                  <c:v>746</c:v>
                </c:pt>
                <c:pt idx="294">
                  <c:v>755</c:v>
                </c:pt>
                <c:pt idx="295">
                  <c:v>765</c:v>
                </c:pt>
                <c:pt idx="296">
                  <c:v>770</c:v>
                </c:pt>
                <c:pt idx="297">
                  <c:v>780</c:v>
                </c:pt>
                <c:pt idx="298">
                  <c:v>749</c:v>
                </c:pt>
                <c:pt idx="299">
                  <c:v>770</c:v>
                </c:pt>
                <c:pt idx="300">
                  <c:v>807</c:v>
                </c:pt>
                <c:pt idx="301">
                  <c:v>847</c:v>
                </c:pt>
                <c:pt idx="302">
                  <c:v>907</c:v>
                </c:pt>
                <c:pt idx="303">
                  <c:v>942</c:v>
                </c:pt>
                <c:pt idx="304">
                  <c:v>957</c:v>
                </c:pt>
                <c:pt idx="305">
                  <c:v>975</c:v>
                </c:pt>
                <c:pt idx="306">
                  <c:v>952</c:v>
                </c:pt>
                <c:pt idx="307">
                  <c:v>963</c:v>
                </c:pt>
                <c:pt idx="308">
                  <c:v>1009</c:v>
                </c:pt>
                <c:pt idx="309">
                  <c:v>1094</c:v>
                </c:pt>
                <c:pt idx="310">
                  <c:v>1115</c:v>
                </c:pt>
                <c:pt idx="311">
                  <c:v>1154</c:v>
                </c:pt>
                <c:pt idx="312">
                  <c:v>1151</c:v>
                </c:pt>
                <c:pt idx="313">
                  <c:v>1143</c:v>
                </c:pt>
                <c:pt idx="314">
                  <c:v>1149</c:v>
                </c:pt>
                <c:pt idx="315">
                  <c:v>1176</c:v>
                </c:pt>
                <c:pt idx="316">
                  <c:v>1189</c:v>
                </c:pt>
                <c:pt idx="317">
                  <c:v>1177</c:v>
                </c:pt>
                <c:pt idx="318">
                  <c:v>1173</c:v>
                </c:pt>
                <c:pt idx="319">
                  <c:v>1184</c:v>
                </c:pt>
                <c:pt idx="320">
                  <c:v>1175</c:v>
                </c:pt>
                <c:pt idx="321">
                  <c:v>1166</c:v>
                </c:pt>
                <c:pt idx="322">
                  <c:v>1137</c:v>
                </c:pt>
                <c:pt idx="323">
                  <c:v>1161</c:v>
                </c:pt>
                <c:pt idx="324">
                  <c:v>1142</c:v>
                </c:pt>
                <c:pt idx="325">
                  <c:v>1117</c:v>
                </c:pt>
                <c:pt idx="326">
                  <c:v>1110</c:v>
                </c:pt>
                <c:pt idx="327">
                  <c:v>1112</c:v>
                </c:pt>
                <c:pt idx="328">
                  <c:v>1092</c:v>
                </c:pt>
                <c:pt idx="329">
                  <c:v>1058</c:v>
                </c:pt>
                <c:pt idx="330">
                  <c:v>1081</c:v>
                </c:pt>
                <c:pt idx="331">
                  <c:v>1046</c:v>
                </c:pt>
                <c:pt idx="332">
                  <c:v>1038</c:v>
                </c:pt>
                <c:pt idx="333">
                  <c:v>1017</c:v>
                </c:pt>
                <c:pt idx="334">
                  <c:v>1019</c:v>
                </c:pt>
                <c:pt idx="335">
                  <c:v>1021</c:v>
                </c:pt>
                <c:pt idx="336">
                  <c:v>1039</c:v>
                </c:pt>
                <c:pt idx="337">
                  <c:v>1077</c:v>
                </c:pt>
                <c:pt idx="338">
                  <c:v>1089</c:v>
                </c:pt>
                <c:pt idx="339">
                  <c:v>1075</c:v>
                </c:pt>
                <c:pt idx="340">
                  <c:v>1101</c:v>
                </c:pt>
                <c:pt idx="341">
                  <c:v>1087</c:v>
                </c:pt>
                <c:pt idx="342">
                  <c:v>1070</c:v>
                </c:pt>
                <c:pt idx="343">
                  <c:v>1098</c:v>
                </c:pt>
                <c:pt idx="344">
                  <c:v>1107</c:v>
                </c:pt>
                <c:pt idx="345">
                  <c:v>1093</c:v>
                </c:pt>
                <c:pt idx="346">
                  <c:v>1110</c:v>
                </c:pt>
                <c:pt idx="347">
                  <c:v>1116</c:v>
                </c:pt>
                <c:pt idx="348">
                  <c:v>1113</c:v>
                </c:pt>
                <c:pt idx="349">
                  <c:v>1106</c:v>
                </c:pt>
                <c:pt idx="350">
                  <c:v>1146</c:v>
                </c:pt>
                <c:pt idx="351">
                  <c:v>1170</c:v>
                </c:pt>
                <c:pt idx="352">
                  <c:v>1214</c:v>
                </c:pt>
                <c:pt idx="353">
                  <c:v>1241</c:v>
                </c:pt>
                <c:pt idx="354">
                  <c:v>1266</c:v>
                </c:pt>
                <c:pt idx="355">
                  <c:v>1268</c:v>
                </c:pt>
                <c:pt idx="356">
                  <c:v>1265</c:v>
                </c:pt>
                <c:pt idx="357">
                  <c:v>1280</c:v>
                </c:pt>
                <c:pt idx="358">
                  <c:v>1359</c:v>
                </c:pt>
                <c:pt idx="359">
                  <c:v>1387</c:v>
                </c:pt>
                <c:pt idx="360">
                  <c:v>1406</c:v>
                </c:pt>
                <c:pt idx="361">
                  <c:v>1461</c:v>
                </c:pt>
                <c:pt idx="362">
                  <c:v>1437</c:v>
                </c:pt>
                <c:pt idx="363">
                  <c:v>1466</c:v>
                </c:pt>
                <c:pt idx="364">
                  <c:v>1503</c:v>
                </c:pt>
                <c:pt idx="365">
                  <c:v>1583</c:v>
                </c:pt>
                <c:pt idx="366">
                  <c:v>1594</c:v>
                </c:pt>
                <c:pt idx="367">
                  <c:v>1624</c:v>
                </c:pt>
                <c:pt idx="368">
                  <c:v>1652</c:v>
                </c:pt>
                <c:pt idx="369">
                  <c:v>1670</c:v>
                </c:pt>
                <c:pt idx="370">
                  <c:v>1674</c:v>
                </c:pt>
                <c:pt idx="371">
                  <c:v>1679</c:v>
                </c:pt>
                <c:pt idx="372">
                  <c:v>1774</c:v>
                </c:pt>
                <c:pt idx="373">
                  <c:v>1801</c:v>
                </c:pt>
                <c:pt idx="374">
                  <c:v>1829</c:v>
                </c:pt>
                <c:pt idx="375">
                  <c:v>1818</c:v>
                </c:pt>
                <c:pt idx="376">
                  <c:v>1829</c:v>
                </c:pt>
                <c:pt idx="377">
                  <c:v>1779</c:v>
                </c:pt>
                <c:pt idx="378">
                  <c:v>1825</c:v>
                </c:pt>
                <c:pt idx="379">
                  <c:v>1883</c:v>
                </c:pt>
                <c:pt idx="380">
                  <c:v>1892</c:v>
                </c:pt>
                <c:pt idx="381">
                  <c:v>1857</c:v>
                </c:pt>
                <c:pt idx="382">
                  <c:v>1857</c:v>
                </c:pt>
                <c:pt idx="383">
                  <c:v>1817</c:v>
                </c:pt>
                <c:pt idx="384">
                  <c:v>1778</c:v>
                </c:pt>
                <c:pt idx="385">
                  <c:v>1802</c:v>
                </c:pt>
                <c:pt idx="386">
                  <c:v>1822</c:v>
                </c:pt>
                <c:pt idx="387">
                  <c:v>1772</c:v>
                </c:pt>
                <c:pt idx="388">
                  <c:v>1739</c:v>
                </c:pt>
                <c:pt idx="389">
                  <c:v>1739</c:v>
                </c:pt>
                <c:pt idx="390">
                  <c:v>1674</c:v>
                </c:pt>
                <c:pt idx="391">
                  <c:v>1639</c:v>
                </c:pt>
                <c:pt idx="392">
                  <c:v>1651</c:v>
                </c:pt>
                <c:pt idx="393">
                  <c:v>1662</c:v>
                </c:pt>
                <c:pt idx="394">
                  <c:v>1611</c:v>
                </c:pt>
                <c:pt idx="395">
                  <c:v>1550</c:v>
                </c:pt>
                <c:pt idx="396">
                  <c:v>1501</c:v>
                </c:pt>
                <c:pt idx="397">
                  <c:v>1419</c:v>
                </c:pt>
                <c:pt idx="398">
                  <c:v>1395</c:v>
                </c:pt>
                <c:pt idx="399">
                  <c:v>1376</c:v>
                </c:pt>
                <c:pt idx="400">
                  <c:v>1342</c:v>
                </c:pt>
                <c:pt idx="401">
                  <c:v>1389</c:v>
                </c:pt>
                <c:pt idx="402">
                  <c:v>1356</c:v>
                </c:pt>
                <c:pt idx="403">
                  <c:v>1311</c:v>
                </c:pt>
                <c:pt idx="404">
                  <c:v>1232</c:v>
                </c:pt>
                <c:pt idx="405">
                  <c:v>1212</c:v>
                </c:pt>
                <c:pt idx="406">
                  <c:v>1193</c:v>
                </c:pt>
                <c:pt idx="407">
                  <c:v>1181</c:v>
                </c:pt>
                <c:pt idx="408">
                  <c:v>1152</c:v>
                </c:pt>
                <c:pt idx="409">
                  <c:v>1108</c:v>
                </c:pt>
                <c:pt idx="410">
                  <c:v>1031</c:v>
                </c:pt>
                <c:pt idx="411">
                  <c:v>1009</c:v>
                </c:pt>
                <c:pt idx="412">
                  <c:v>971</c:v>
                </c:pt>
                <c:pt idx="413">
                  <c:v>973</c:v>
                </c:pt>
                <c:pt idx="414">
                  <c:v>991</c:v>
                </c:pt>
                <c:pt idx="415">
                  <c:v>940</c:v>
                </c:pt>
                <c:pt idx="416">
                  <c:v>906</c:v>
                </c:pt>
                <c:pt idx="417">
                  <c:v>836</c:v>
                </c:pt>
                <c:pt idx="418">
                  <c:v>789</c:v>
                </c:pt>
                <c:pt idx="419">
                  <c:v>752</c:v>
                </c:pt>
                <c:pt idx="420">
                  <c:v>760</c:v>
                </c:pt>
                <c:pt idx="421">
                  <c:v>736</c:v>
                </c:pt>
                <c:pt idx="422">
                  <c:v>711</c:v>
                </c:pt>
                <c:pt idx="423">
                  <c:v>684</c:v>
                </c:pt>
                <c:pt idx="424">
                  <c:v>635</c:v>
                </c:pt>
                <c:pt idx="425">
                  <c:v>576</c:v>
                </c:pt>
                <c:pt idx="426">
                  <c:v>550</c:v>
                </c:pt>
                <c:pt idx="427">
                  <c:v>555</c:v>
                </c:pt>
                <c:pt idx="428">
                  <c:v>560</c:v>
                </c:pt>
                <c:pt idx="429">
                  <c:v>540</c:v>
                </c:pt>
                <c:pt idx="430">
                  <c:v>498</c:v>
                </c:pt>
                <c:pt idx="431">
                  <c:v>462</c:v>
                </c:pt>
                <c:pt idx="432">
                  <c:v>437</c:v>
                </c:pt>
                <c:pt idx="433">
                  <c:v>410</c:v>
                </c:pt>
                <c:pt idx="434">
                  <c:v>414</c:v>
                </c:pt>
                <c:pt idx="435">
                  <c:v>421</c:v>
                </c:pt>
                <c:pt idx="436">
                  <c:v>399</c:v>
                </c:pt>
                <c:pt idx="437">
                  <c:v>376</c:v>
                </c:pt>
                <c:pt idx="438">
                  <c:v>365</c:v>
                </c:pt>
                <c:pt idx="439">
                  <c:v>338</c:v>
                </c:pt>
                <c:pt idx="440">
                  <c:v>304</c:v>
                </c:pt>
                <c:pt idx="441">
                  <c:v>300</c:v>
                </c:pt>
                <c:pt idx="442">
                  <c:v>292</c:v>
                </c:pt>
                <c:pt idx="443">
                  <c:v>275</c:v>
                </c:pt>
                <c:pt idx="444">
                  <c:v>246</c:v>
                </c:pt>
                <c:pt idx="445">
                  <c:v>216</c:v>
                </c:pt>
                <c:pt idx="446">
                  <c:v>190</c:v>
                </c:pt>
                <c:pt idx="447">
                  <c:v>186</c:v>
                </c:pt>
                <c:pt idx="448">
                  <c:v>184</c:v>
                </c:pt>
                <c:pt idx="449">
                  <c:v>180</c:v>
                </c:pt>
                <c:pt idx="450">
                  <c:v>159</c:v>
                </c:pt>
                <c:pt idx="451">
                  <c:v>152</c:v>
                </c:pt>
                <c:pt idx="452">
                  <c:v>143</c:v>
                </c:pt>
                <c:pt idx="453">
                  <c:v>124</c:v>
                </c:pt>
                <c:pt idx="454">
                  <c:v>111</c:v>
                </c:pt>
                <c:pt idx="455">
                  <c:v>111</c:v>
                </c:pt>
                <c:pt idx="456">
                  <c:v>116</c:v>
                </c:pt>
                <c:pt idx="457">
                  <c:v>97</c:v>
                </c:pt>
                <c:pt idx="458">
                  <c:v>89</c:v>
                </c:pt>
                <c:pt idx="459">
                  <c:v>83</c:v>
                </c:pt>
                <c:pt idx="460">
                  <c:v>70</c:v>
                </c:pt>
                <c:pt idx="461">
                  <c:v>58</c:v>
                </c:pt>
                <c:pt idx="462">
                  <c:v>59</c:v>
                </c:pt>
                <c:pt idx="463">
                  <c:v>57</c:v>
                </c:pt>
                <c:pt idx="464">
                  <c:v>58</c:v>
                </c:pt>
                <c:pt idx="465">
                  <c:v>55</c:v>
                </c:pt>
                <c:pt idx="466">
                  <c:v>52</c:v>
                </c:pt>
                <c:pt idx="467">
                  <c:v>37</c:v>
                </c:pt>
                <c:pt idx="468">
                  <c:v>36</c:v>
                </c:pt>
                <c:pt idx="469">
                  <c:v>34</c:v>
                </c:pt>
                <c:pt idx="470">
                  <c:v>36</c:v>
                </c:pt>
                <c:pt idx="471">
                  <c:v>26</c:v>
                </c:pt>
                <c:pt idx="472">
                  <c:v>24</c:v>
                </c:pt>
                <c:pt idx="473">
                  <c:v>23</c:v>
                </c:pt>
                <c:pt idx="474">
                  <c:v>21</c:v>
                </c:pt>
                <c:pt idx="475">
                  <c:v>18</c:v>
                </c:pt>
                <c:pt idx="476">
                  <c:v>20</c:v>
                </c:pt>
                <c:pt idx="477">
                  <c:v>18</c:v>
                </c:pt>
                <c:pt idx="478">
                  <c:v>17</c:v>
                </c:pt>
                <c:pt idx="479">
                  <c:v>14</c:v>
                </c:pt>
                <c:pt idx="480">
                  <c:v>16</c:v>
                </c:pt>
                <c:pt idx="481">
                  <c:v>16</c:v>
                </c:pt>
                <c:pt idx="482">
                  <c:v>13</c:v>
                </c:pt>
                <c:pt idx="483">
                  <c:v>12</c:v>
                </c:pt>
                <c:pt idx="484">
                  <c:v>14</c:v>
                </c:pt>
                <c:pt idx="485">
                  <c:v>14</c:v>
                </c:pt>
                <c:pt idx="486">
                  <c:v>12</c:v>
                </c:pt>
                <c:pt idx="487">
                  <c:v>13</c:v>
                </c:pt>
                <c:pt idx="488">
                  <c:v>6</c:v>
                </c:pt>
                <c:pt idx="489">
                  <c:v>5</c:v>
                </c:pt>
                <c:pt idx="490">
                  <c:v>6</c:v>
                </c:pt>
                <c:pt idx="491">
                  <c:v>10</c:v>
                </c:pt>
                <c:pt idx="492">
                  <c:v>10</c:v>
                </c:pt>
                <c:pt idx="493">
                  <c:v>11</c:v>
                </c:pt>
                <c:pt idx="494">
                  <c:v>11</c:v>
                </c:pt>
                <c:pt idx="495">
                  <c:v>8</c:v>
                </c:pt>
                <c:pt idx="496">
                  <c:v>7</c:v>
                </c:pt>
                <c:pt idx="497">
                  <c:v>8</c:v>
                </c:pt>
                <c:pt idx="498">
                  <c:v>9</c:v>
                </c:pt>
                <c:pt idx="499">
                  <c:v>8</c:v>
                </c:pt>
                <c:pt idx="500">
                  <c:v>9</c:v>
                </c:pt>
                <c:pt idx="501">
                  <c:v>9</c:v>
                </c:pt>
                <c:pt idx="502">
                  <c:v>10</c:v>
                </c:pt>
                <c:pt idx="503">
                  <c:v>9</c:v>
                </c:pt>
                <c:pt idx="504">
                  <c:v>10</c:v>
                </c:pt>
                <c:pt idx="505">
                  <c:v>10</c:v>
                </c:pt>
                <c:pt idx="506">
                  <c:v>5</c:v>
                </c:pt>
                <c:pt idx="507">
                  <c:v>8</c:v>
                </c:pt>
                <c:pt idx="508">
                  <c:v>12</c:v>
                </c:pt>
                <c:pt idx="509">
                  <c:v>11</c:v>
                </c:pt>
                <c:pt idx="510">
                  <c:v>8</c:v>
                </c:pt>
                <c:pt idx="511">
                  <c:v>9</c:v>
                </c:pt>
                <c:pt idx="512">
                  <c:v>9</c:v>
                </c:pt>
                <c:pt idx="513">
                  <c:v>10</c:v>
                </c:pt>
                <c:pt idx="514">
                  <c:v>11</c:v>
                </c:pt>
                <c:pt idx="515">
                  <c:v>14</c:v>
                </c:pt>
                <c:pt idx="516">
                  <c:v>16</c:v>
                </c:pt>
                <c:pt idx="517">
                  <c:v>17</c:v>
                </c:pt>
                <c:pt idx="518">
                  <c:v>16</c:v>
                </c:pt>
                <c:pt idx="519">
                  <c:v>14</c:v>
                </c:pt>
                <c:pt idx="520">
                  <c:v>16</c:v>
                </c:pt>
                <c:pt idx="521">
                  <c:v>17</c:v>
                </c:pt>
                <c:pt idx="522">
                  <c:v>16</c:v>
                </c:pt>
                <c:pt idx="523">
                  <c:v>14</c:v>
                </c:pt>
                <c:pt idx="524">
                  <c:v>13</c:v>
                </c:pt>
                <c:pt idx="525">
                  <c:v>15</c:v>
                </c:pt>
                <c:pt idx="526">
                  <c:v>17</c:v>
                </c:pt>
                <c:pt idx="527">
                  <c:v>16</c:v>
                </c:pt>
                <c:pt idx="528">
                  <c:v>16</c:v>
                </c:pt>
                <c:pt idx="529">
                  <c:v>16</c:v>
                </c:pt>
                <c:pt idx="530">
                  <c:v>15</c:v>
                </c:pt>
                <c:pt idx="53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57-4E39-B9F0-0DC494C004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812805536"/>
        <c:axId val="1993892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C$2:$C$533</c:f>
              <c:numCache>
                <c:formatCode>General</c:formatCode>
                <c:ptCount val="532"/>
                <c:pt idx="0">
                  <c:v>3237.8857142857159</c:v>
                </c:pt>
                <c:pt idx="1">
                  <c:v>3237.8857142857159</c:v>
                </c:pt>
                <c:pt idx="2">
                  <c:v>3237.8857142857159</c:v>
                </c:pt>
                <c:pt idx="3">
                  <c:v>3237.8857142857159</c:v>
                </c:pt>
                <c:pt idx="4">
                  <c:v>3177.4285714285725</c:v>
                </c:pt>
                <c:pt idx="5">
                  <c:v>3177.4285714285725</c:v>
                </c:pt>
                <c:pt idx="6">
                  <c:v>3177.4285714285725</c:v>
                </c:pt>
                <c:pt idx="7">
                  <c:v>3177.4285714285725</c:v>
                </c:pt>
                <c:pt idx="8">
                  <c:v>3177.4285714285725</c:v>
                </c:pt>
                <c:pt idx="9">
                  <c:v>3177.4285714285725</c:v>
                </c:pt>
                <c:pt idx="10">
                  <c:v>3177.4285714285725</c:v>
                </c:pt>
                <c:pt idx="11">
                  <c:v>3189.2857142857165</c:v>
                </c:pt>
                <c:pt idx="12">
                  <c:v>3189.2857142857165</c:v>
                </c:pt>
                <c:pt idx="13">
                  <c:v>3189.2857142857165</c:v>
                </c:pt>
                <c:pt idx="14">
                  <c:v>3189.2857142857165</c:v>
                </c:pt>
                <c:pt idx="15">
                  <c:v>3189.2857142857165</c:v>
                </c:pt>
                <c:pt idx="16">
                  <c:v>3189.2857142857165</c:v>
                </c:pt>
                <c:pt idx="17">
                  <c:v>3189.2857142857165</c:v>
                </c:pt>
                <c:pt idx="18">
                  <c:v>3179.0857142857108</c:v>
                </c:pt>
                <c:pt idx="19">
                  <c:v>3179.0857142857108</c:v>
                </c:pt>
                <c:pt idx="20">
                  <c:v>3179.0857142857108</c:v>
                </c:pt>
                <c:pt idx="21">
                  <c:v>3179.0857142857108</c:v>
                </c:pt>
                <c:pt idx="22">
                  <c:v>3179.0857142857108</c:v>
                </c:pt>
                <c:pt idx="23">
                  <c:v>3179.0857142857108</c:v>
                </c:pt>
                <c:pt idx="24">
                  <c:v>3179.0857142857108</c:v>
                </c:pt>
                <c:pt idx="25">
                  <c:v>3140.171428571432</c:v>
                </c:pt>
                <c:pt idx="26">
                  <c:v>3140.171428571432</c:v>
                </c:pt>
                <c:pt idx="27">
                  <c:v>3140.171428571432</c:v>
                </c:pt>
                <c:pt idx="28">
                  <c:v>3140.171428571432</c:v>
                </c:pt>
                <c:pt idx="29">
                  <c:v>3140.171428571432</c:v>
                </c:pt>
                <c:pt idx="30">
                  <c:v>3140.171428571432</c:v>
                </c:pt>
                <c:pt idx="31">
                  <c:v>3140.171428571432</c:v>
                </c:pt>
                <c:pt idx="32">
                  <c:v>3111.5714285714275</c:v>
                </c:pt>
                <c:pt idx="33">
                  <c:v>3111.5714285714275</c:v>
                </c:pt>
                <c:pt idx="34">
                  <c:v>3111.5714285714275</c:v>
                </c:pt>
                <c:pt idx="35">
                  <c:v>3111.5714285714275</c:v>
                </c:pt>
                <c:pt idx="36">
                  <c:v>3111.5714285714275</c:v>
                </c:pt>
                <c:pt idx="37">
                  <c:v>3111.5714285714275</c:v>
                </c:pt>
                <c:pt idx="38">
                  <c:v>3111.5714285714275</c:v>
                </c:pt>
                <c:pt idx="39">
                  <c:v>3137.8571428571445</c:v>
                </c:pt>
                <c:pt idx="40">
                  <c:v>3137.8571428571445</c:v>
                </c:pt>
                <c:pt idx="41">
                  <c:v>3137.8571428571445</c:v>
                </c:pt>
                <c:pt idx="42">
                  <c:v>3137.8571428571445</c:v>
                </c:pt>
                <c:pt idx="43">
                  <c:v>3137.8571428571445</c:v>
                </c:pt>
                <c:pt idx="44">
                  <c:v>3137.8571428571445</c:v>
                </c:pt>
                <c:pt idx="45">
                  <c:v>3137.8571428571445</c:v>
                </c:pt>
                <c:pt idx="46">
                  <c:v>3102.5142857142932</c:v>
                </c:pt>
                <c:pt idx="47">
                  <c:v>3102.5142857142932</c:v>
                </c:pt>
                <c:pt idx="48">
                  <c:v>3102.5142857142932</c:v>
                </c:pt>
                <c:pt idx="49">
                  <c:v>3102.5142857142932</c:v>
                </c:pt>
                <c:pt idx="50">
                  <c:v>3102.5142857142932</c:v>
                </c:pt>
                <c:pt idx="51">
                  <c:v>3102.5142857142932</c:v>
                </c:pt>
                <c:pt idx="52">
                  <c:v>3102.5142857142932</c:v>
                </c:pt>
                <c:pt idx="53">
                  <c:v>3109.8285714285707</c:v>
                </c:pt>
                <c:pt idx="54">
                  <c:v>3109.8285714285707</c:v>
                </c:pt>
                <c:pt idx="55">
                  <c:v>3109.8285714285707</c:v>
                </c:pt>
                <c:pt idx="56">
                  <c:v>3109.8285714285707</c:v>
                </c:pt>
                <c:pt idx="57">
                  <c:v>3109.8285714285707</c:v>
                </c:pt>
                <c:pt idx="58">
                  <c:v>3109.8285714285707</c:v>
                </c:pt>
                <c:pt idx="59">
                  <c:v>3109.8285714285707</c:v>
                </c:pt>
                <c:pt idx="60">
                  <c:v>3107.3142857142861</c:v>
                </c:pt>
                <c:pt idx="61">
                  <c:v>3107.3142857142861</c:v>
                </c:pt>
                <c:pt idx="62">
                  <c:v>3107.3142857142861</c:v>
                </c:pt>
                <c:pt idx="63">
                  <c:v>3107.3142857142861</c:v>
                </c:pt>
                <c:pt idx="64">
                  <c:v>3107.3142857142861</c:v>
                </c:pt>
                <c:pt idx="65">
                  <c:v>3107.3142857142861</c:v>
                </c:pt>
                <c:pt idx="66">
                  <c:v>3107.3142857142861</c:v>
                </c:pt>
                <c:pt idx="67">
                  <c:v>3007.6857142857152</c:v>
                </c:pt>
                <c:pt idx="68">
                  <c:v>3007.6857142857152</c:v>
                </c:pt>
                <c:pt idx="69">
                  <c:v>3007.6857142857152</c:v>
                </c:pt>
                <c:pt idx="70">
                  <c:v>3007.6857142857152</c:v>
                </c:pt>
                <c:pt idx="71">
                  <c:v>3007.6857142857152</c:v>
                </c:pt>
                <c:pt idx="72">
                  <c:v>3007.6857142857152</c:v>
                </c:pt>
                <c:pt idx="73">
                  <c:v>3007.6857142857152</c:v>
                </c:pt>
                <c:pt idx="74">
                  <c:v>3070.2285714285763</c:v>
                </c:pt>
                <c:pt idx="75">
                  <c:v>3070.2285714285763</c:v>
                </c:pt>
                <c:pt idx="76">
                  <c:v>3070.2285714285763</c:v>
                </c:pt>
                <c:pt idx="77">
                  <c:v>3070.2285714285763</c:v>
                </c:pt>
                <c:pt idx="78">
                  <c:v>3070.2285714285763</c:v>
                </c:pt>
                <c:pt idx="79">
                  <c:v>3070.2285714285763</c:v>
                </c:pt>
                <c:pt idx="80">
                  <c:v>3070.2285714285763</c:v>
                </c:pt>
                <c:pt idx="81">
                  <c:v>3084.8857142857069</c:v>
                </c:pt>
                <c:pt idx="82">
                  <c:v>3084.8857142857069</c:v>
                </c:pt>
                <c:pt idx="83">
                  <c:v>3084.8857142857069</c:v>
                </c:pt>
                <c:pt idx="84">
                  <c:v>3084.8857142857069</c:v>
                </c:pt>
                <c:pt idx="85">
                  <c:v>3084.8857142857069</c:v>
                </c:pt>
                <c:pt idx="86">
                  <c:v>3084.8857142857069</c:v>
                </c:pt>
                <c:pt idx="87">
                  <c:v>3084.8857142857069</c:v>
                </c:pt>
                <c:pt idx="88">
                  <c:v>3111.0571428571448</c:v>
                </c:pt>
                <c:pt idx="89">
                  <c:v>3111.0571428571448</c:v>
                </c:pt>
                <c:pt idx="90">
                  <c:v>3111.0571428571448</c:v>
                </c:pt>
                <c:pt idx="91">
                  <c:v>3111.0571428571448</c:v>
                </c:pt>
                <c:pt idx="92">
                  <c:v>3111.0571428571448</c:v>
                </c:pt>
                <c:pt idx="93">
                  <c:v>3111.0571428571448</c:v>
                </c:pt>
                <c:pt idx="94">
                  <c:v>3111.0571428571448</c:v>
                </c:pt>
                <c:pt idx="95">
                  <c:v>3051.1999999999994</c:v>
                </c:pt>
                <c:pt idx="96">
                  <c:v>3051.1999999999994</c:v>
                </c:pt>
                <c:pt idx="97">
                  <c:v>3051.1999999999994</c:v>
                </c:pt>
                <c:pt idx="98">
                  <c:v>3051.1999999999994</c:v>
                </c:pt>
                <c:pt idx="99">
                  <c:v>3051.1999999999994</c:v>
                </c:pt>
                <c:pt idx="100">
                  <c:v>3051.1999999999994</c:v>
                </c:pt>
                <c:pt idx="101">
                  <c:v>3051.1999999999994</c:v>
                </c:pt>
                <c:pt idx="102">
                  <c:v>3063.9999999999991</c:v>
                </c:pt>
                <c:pt idx="103">
                  <c:v>3063.9999999999991</c:v>
                </c:pt>
                <c:pt idx="104">
                  <c:v>3063.9999999999991</c:v>
                </c:pt>
                <c:pt idx="105">
                  <c:v>3063.9999999999991</c:v>
                </c:pt>
                <c:pt idx="106">
                  <c:v>3063.9999999999991</c:v>
                </c:pt>
                <c:pt idx="107">
                  <c:v>3063.9999999999991</c:v>
                </c:pt>
                <c:pt idx="108">
                  <c:v>3063.9999999999991</c:v>
                </c:pt>
                <c:pt idx="109">
                  <c:v>3058.3428571428572</c:v>
                </c:pt>
                <c:pt idx="110">
                  <c:v>3058.3428571428572</c:v>
                </c:pt>
                <c:pt idx="111">
                  <c:v>3058.3428571428572</c:v>
                </c:pt>
                <c:pt idx="112">
                  <c:v>3058.3428571428572</c:v>
                </c:pt>
                <c:pt idx="113">
                  <c:v>3058.3428571428572</c:v>
                </c:pt>
                <c:pt idx="114">
                  <c:v>3058.3428571428572</c:v>
                </c:pt>
                <c:pt idx="115">
                  <c:v>3058.3428571428572</c:v>
                </c:pt>
                <c:pt idx="116">
                  <c:v>3054.8571428571486</c:v>
                </c:pt>
                <c:pt idx="117">
                  <c:v>3054.8571428571486</c:v>
                </c:pt>
                <c:pt idx="118">
                  <c:v>3054.8571428571486</c:v>
                </c:pt>
                <c:pt idx="119">
                  <c:v>3054.8571428571486</c:v>
                </c:pt>
                <c:pt idx="120">
                  <c:v>3054.8571428571486</c:v>
                </c:pt>
                <c:pt idx="121">
                  <c:v>3054.8571428571486</c:v>
                </c:pt>
                <c:pt idx="122">
                  <c:v>3054.8571428571486</c:v>
                </c:pt>
                <c:pt idx="123">
                  <c:v>2652.685714285717</c:v>
                </c:pt>
                <c:pt idx="124">
                  <c:v>2652.685714285717</c:v>
                </c:pt>
                <c:pt idx="125">
                  <c:v>2652.685714285717</c:v>
                </c:pt>
                <c:pt idx="126">
                  <c:v>2652.685714285717</c:v>
                </c:pt>
                <c:pt idx="127">
                  <c:v>2652.685714285717</c:v>
                </c:pt>
                <c:pt idx="128">
                  <c:v>2652.685714285717</c:v>
                </c:pt>
                <c:pt idx="129">
                  <c:v>2652.685714285717</c:v>
                </c:pt>
                <c:pt idx="130">
                  <c:v>2770.2000000000057</c:v>
                </c:pt>
                <c:pt idx="131">
                  <c:v>2770.2000000000057</c:v>
                </c:pt>
                <c:pt idx="132">
                  <c:v>2770.2000000000057</c:v>
                </c:pt>
                <c:pt idx="133">
                  <c:v>2770.2000000000057</c:v>
                </c:pt>
                <c:pt idx="134">
                  <c:v>2770.2000000000057</c:v>
                </c:pt>
                <c:pt idx="135">
                  <c:v>2770.2000000000057</c:v>
                </c:pt>
                <c:pt idx="136">
                  <c:v>2770.2000000000057</c:v>
                </c:pt>
                <c:pt idx="137">
                  <c:v>2731.2285714285722</c:v>
                </c:pt>
                <c:pt idx="138">
                  <c:v>2731.2285714285722</c:v>
                </c:pt>
                <c:pt idx="139">
                  <c:v>2731.2285714285722</c:v>
                </c:pt>
                <c:pt idx="140">
                  <c:v>2731.2285714285722</c:v>
                </c:pt>
                <c:pt idx="141">
                  <c:v>2731.2285714285722</c:v>
                </c:pt>
                <c:pt idx="142">
                  <c:v>2731.2285714285722</c:v>
                </c:pt>
                <c:pt idx="143">
                  <c:v>2731.2285714285722</c:v>
                </c:pt>
                <c:pt idx="144">
                  <c:v>2683.5428571428538</c:v>
                </c:pt>
                <c:pt idx="145">
                  <c:v>2683.5428571428538</c:v>
                </c:pt>
                <c:pt idx="146">
                  <c:v>2683.5428571428538</c:v>
                </c:pt>
                <c:pt idx="147">
                  <c:v>2683.5428571428538</c:v>
                </c:pt>
                <c:pt idx="148">
                  <c:v>2683.5428571428538</c:v>
                </c:pt>
                <c:pt idx="149">
                  <c:v>2683.5428571428538</c:v>
                </c:pt>
                <c:pt idx="150">
                  <c:v>2683.5428571428538</c:v>
                </c:pt>
                <c:pt idx="151">
                  <c:v>2636.1714285714306</c:v>
                </c:pt>
                <c:pt idx="152">
                  <c:v>2636.1714285714306</c:v>
                </c:pt>
                <c:pt idx="153">
                  <c:v>2636.1714285714306</c:v>
                </c:pt>
                <c:pt idx="154">
                  <c:v>2636.1714285714306</c:v>
                </c:pt>
                <c:pt idx="155">
                  <c:v>2636.1714285714306</c:v>
                </c:pt>
                <c:pt idx="156">
                  <c:v>2636.1714285714306</c:v>
                </c:pt>
                <c:pt idx="157">
                  <c:v>2636.1714285714306</c:v>
                </c:pt>
                <c:pt idx="158">
                  <c:v>2604.3428571428567</c:v>
                </c:pt>
                <c:pt idx="159">
                  <c:v>2604.3428571428567</c:v>
                </c:pt>
                <c:pt idx="160">
                  <c:v>2604.3428571428567</c:v>
                </c:pt>
                <c:pt idx="161">
                  <c:v>2604.3428571428567</c:v>
                </c:pt>
                <c:pt idx="162">
                  <c:v>2604.3428571428567</c:v>
                </c:pt>
                <c:pt idx="163">
                  <c:v>2604.3428571428567</c:v>
                </c:pt>
                <c:pt idx="164">
                  <c:v>2604.3428571428567</c:v>
                </c:pt>
                <c:pt idx="165">
                  <c:v>2657.9714285714304</c:v>
                </c:pt>
                <c:pt idx="166">
                  <c:v>2657.9714285714304</c:v>
                </c:pt>
                <c:pt idx="167">
                  <c:v>2657.9714285714304</c:v>
                </c:pt>
                <c:pt idx="168">
                  <c:v>2657.9714285714304</c:v>
                </c:pt>
                <c:pt idx="169">
                  <c:v>2657.9714285714304</c:v>
                </c:pt>
                <c:pt idx="170">
                  <c:v>2657.9714285714304</c:v>
                </c:pt>
                <c:pt idx="171">
                  <c:v>2657.9714285714304</c:v>
                </c:pt>
                <c:pt idx="172">
                  <c:v>2708.8571428571454</c:v>
                </c:pt>
                <c:pt idx="173">
                  <c:v>2708.8571428571454</c:v>
                </c:pt>
                <c:pt idx="174">
                  <c:v>2708.8571428571454</c:v>
                </c:pt>
                <c:pt idx="175">
                  <c:v>2708.8571428571454</c:v>
                </c:pt>
                <c:pt idx="176">
                  <c:v>2708.8571428571454</c:v>
                </c:pt>
                <c:pt idx="177">
                  <c:v>2708.8571428571454</c:v>
                </c:pt>
                <c:pt idx="178">
                  <c:v>2708.8571428571454</c:v>
                </c:pt>
                <c:pt idx="179">
                  <c:v>2831.0000000000041</c:v>
                </c:pt>
                <c:pt idx="180">
                  <c:v>2831.0000000000041</c:v>
                </c:pt>
                <c:pt idx="181">
                  <c:v>2831.0000000000041</c:v>
                </c:pt>
                <c:pt idx="182">
                  <c:v>2831.0000000000041</c:v>
                </c:pt>
                <c:pt idx="183">
                  <c:v>2831.0000000000041</c:v>
                </c:pt>
                <c:pt idx="184">
                  <c:v>2831.0000000000041</c:v>
                </c:pt>
                <c:pt idx="185">
                  <c:v>2831.0000000000041</c:v>
                </c:pt>
                <c:pt idx="186">
                  <c:v>2916.8857142857169</c:v>
                </c:pt>
                <c:pt idx="187">
                  <c:v>2916.8857142857169</c:v>
                </c:pt>
                <c:pt idx="188">
                  <c:v>2916.8857142857169</c:v>
                </c:pt>
                <c:pt idx="189">
                  <c:v>2916.8857142857169</c:v>
                </c:pt>
                <c:pt idx="190">
                  <c:v>2916.8857142857169</c:v>
                </c:pt>
                <c:pt idx="191">
                  <c:v>2916.8857142857169</c:v>
                </c:pt>
                <c:pt idx="192">
                  <c:v>2916.8857142857169</c:v>
                </c:pt>
                <c:pt idx="193">
                  <c:v>2982.2285714285722</c:v>
                </c:pt>
                <c:pt idx="194">
                  <c:v>2982.2285714285722</c:v>
                </c:pt>
                <c:pt idx="195">
                  <c:v>2982.2285714285722</c:v>
                </c:pt>
                <c:pt idx="196">
                  <c:v>2982.2285714285722</c:v>
                </c:pt>
                <c:pt idx="197">
                  <c:v>2982.2285714285722</c:v>
                </c:pt>
                <c:pt idx="198">
                  <c:v>2982.2285714285722</c:v>
                </c:pt>
                <c:pt idx="199">
                  <c:v>2982.2285714285722</c:v>
                </c:pt>
                <c:pt idx="200">
                  <c:v>3013.5999999999985</c:v>
                </c:pt>
                <c:pt idx="201">
                  <c:v>3013.5999999999985</c:v>
                </c:pt>
                <c:pt idx="202">
                  <c:v>3013.5999999999985</c:v>
                </c:pt>
                <c:pt idx="203">
                  <c:v>3013.5999999999985</c:v>
                </c:pt>
                <c:pt idx="204">
                  <c:v>3013.5999999999985</c:v>
                </c:pt>
                <c:pt idx="205">
                  <c:v>3013.5999999999985</c:v>
                </c:pt>
                <c:pt idx="206">
                  <c:v>3013.5999999999985</c:v>
                </c:pt>
                <c:pt idx="207">
                  <c:v>2993.1999999999948</c:v>
                </c:pt>
                <c:pt idx="208">
                  <c:v>2993.1999999999948</c:v>
                </c:pt>
                <c:pt idx="209">
                  <c:v>2993.1999999999948</c:v>
                </c:pt>
                <c:pt idx="210">
                  <c:v>2993.1999999999948</c:v>
                </c:pt>
                <c:pt idx="211">
                  <c:v>2993.1999999999948</c:v>
                </c:pt>
                <c:pt idx="212">
                  <c:v>2993.1999999999948</c:v>
                </c:pt>
                <c:pt idx="213">
                  <c:v>2993.1999999999948</c:v>
                </c:pt>
                <c:pt idx="214">
                  <c:v>3085.028571428576</c:v>
                </c:pt>
                <c:pt idx="215">
                  <c:v>3085.028571428576</c:v>
                </c:pt>
                <c:pt idx="216">
                  <c:v>3085.028571428576</c:v>
                </c:pt>
                <c:pt idx="217">
                  <c:v>3085.028571428576</c:v>
                </c:pt>
                <c:pt idx="218">
                  <c:v>3085.028571428576</c:v>
                </c:pt>
                <c:pt idx="219">
                  <c:v>3085.028571428576</c:v>
                </c:pt>
                <c:pt idx="220">
                  <c:v>3085.028571428576</c:v>
                </c:pt>
                <c:pt idx="221">
                  <c:v>3092.5714285714253</c:v>
                </c:pt>
                <c:pt idx="222">
                  <c:v>3092.5714285714253</c:v>
                </c:pt>
                <c:pt idx="223">
                  <c:v>3092.5714285714253</c:v>
                </c:pt>
                <c:pt idx="224">
                  <c:v>3092.5714285714253</c:v>
                </c:pt>
                <c:pt idx="225">
                  <c:v>3092.5714285714253</c:v>
                </c:pt>
                <c:pt idx="226">
                  <c:v>3092.5714285714253</c:v>
                </c:pt>
                <c:pt idx="227">
                  <c:v>3092.5714285714253</c:v>
                </c:pt>
                <c:pt idx="228">
                  <c:v>3091.9142857142865</c:v>
                </c:pt>
                <c:pt idx="229">
                  <c:v>3091.9142857142865</c:v>
                </c:pt>
                <c:pt idx="230">
                  <c:v>3091.9142857142865</c:v>
                </c:pt>
                <c:pt idx="231">
                  <c:v>3091.9142857142865</c:v>
                </c:pt>
                <c:pt idx="232">
                  <c:v>3091.9142857142865</c:v>
                </c:pt>
                <c:pt idx="233">
                  <c:v>3091.9142857142865</c:v>
                </c:pt>
                <c:pt idx="234">
                  <c:v>3091.9142857142865</c:v>
                </c:pt>
                <c:pt idx="235">
                  <c:v>3071.5142857142846</c:v>
                </c:pt>
                <c:pt idx="236">
                  <c:v>3071.5142857142846</c:v>
                </c:pt>
                <c:pt idx="237">
                  <c:v>3071.5142857142846</c:v>
                </c:pt>
                <c:pt idx="238">
                  <c:v>3071.5142857142846</c:v>
                </c:pt>
                <c:pt idx="239">
                  <c:v>3071.5142857142846</c:v>
                </c:pt>
                <c:pt idx="240">
                  <c:v>3071.5142857142846</c:v>
                </c:pt>
                <c:pt idx="241">
                  <c:v>3071.5142857142846</c:v>
                </c:pt>
                <c:pt idx="242">
                  <c:v>3100.3142857142871</c:v>
                </c:pt>
                <c:pt idx="243">
                  <c:v>3100.3142857142871</c:v>
                </c:pt>
                <c:pt idx="244">
                  <c:v>3100.3142857142871</c:v>
                </c:pt>
                <c:pt idx="245">
                  <c:v>3100.3142857142871</c:v>
                </c:pt>
                <c:pt idx="246">
                  <c:v>3100.3142857142871</c:v>
                </c:pt>
                <c:pt idx="247">
                  <c:v>3100.3142857142871</c:v>
                </c:pt>
                <c:pt idx="248">
                  <c:v>3100.3142857142871</c:v>
                </c:pt>
                <c:pt idx="249">
                  <c:v>3115.914285714281</c:v>
                </c:pt>
                <c:pt idx="250">
                  <c:v>3115.914285714281</c:v>
                </c:pt>
                <c:pt idx="251">
                  <c:v>3115.914285714281</c:v>
                </c:pt>
                <c:pt idx="252">
                  <c:v>3115.914285714281</c:v>
                </c:pt>
                <c:pt idx="253">
                  <c:v>3115.914285714281</c:v>
                </c:pt>
                <c:pt idx="254">
                  <c:v>3115.914285714281</c:v>
                </c:pt>
                <c:pt idx="255">
                  <c:v>3115.914285714281</c:v>
                </c:pt>
                <c:pt idx="256">
                  <c:v>3047.8571428571386</c:v>
                </c:pt>
                <c:pt idx="257">
                  <c:v>3047.8571428571386</c:v>
                </c:pt>
                <c:pt idx="258">
                  <c:v>3047.8571428571386</c:v>
                </c:pt>
                <c:pt idx="259">
                  <c:v>3047.8571428571386</c:v>
                </c:pt>
                <c:pt idx="260">
                  <c:v>3047.8571428571386</c:v>
                </c:pt>
                <c:pt idx="261">
                  <c:v>3047.8571428571386</c:v>
                </c:pt>
                <c:pt idx="262">
                  <c:v>3047.8571428571386</c:v>
                </c:pt>
                <c:pt idx="263">
                  <c:v>3130.0285714285733</c:v>
                </c:pt>
                <c:pt idx="264">
                  <c:v>3130.0285714285733</c:v>
                </c:pt>
                <c:pt idx="265">
                  <c:v>3130.0285714285733</c:v>
                </c:pt>
                <c:pt idx="266">
                  <c:v>3130.0285714285733</c:v>
                </c:pt>
                <c:pt idx="267">
                  <c:v>3130.0285714285733</c:v>
                </c:pt>
                <c:pt idx="268">
                  <c:v>3130.0285714285733</c:v>
                </c:pt>
                <c:pt idx="269">
                  <c:v>3130.0285714285733</c:v>
                </c:pt>
                <c:pt idx="270">
                  <c:v>3178.2285714285758</c:v>
                </c:pt>
                <c:pt idx="271">
                  <c:v>3178.2285714285758</c:v>
                </c:pt>
                <c:pt idx="272">
                  <c:v>3178.2285714285758</c:v>
                </c:pt>
                <c:pt idx="273">
                  <c:v>3178.2285714285758</c:v>
                </c:pt>
                <c:pt idx="274">
                  <c:v>3178.2285714285758</c:v>
                </c:pt>
                <c:pt idx="275">
                  <c:v>3178.2285714285758</c:v>
                </c:pt>
                <c:pt idx="276">
                  <c:v>3178.2285714285758</c:v>
                </c:pt>
                <c:pt idx="277">
                  <c:v>3096.1142857142831</c:v>
                </c:pt>
                <c:pt idx="278">
                  <c:v>3096.1142857142831</c:v>
                </c:pt>
                <c:pt idx="279">
                  <c:v>3096.1142857142831</c:v>
                </c:pt>
                <c:pt idx="280">
                  <c:v>3096.1142857142831</c:v>
                </c:pt>
                <c:pt idx="281">
                  <c:v>3096.1142857142831</c:v>
                </c:pt>
                <c:pt idx="282">
                  <c:v>3096.1142857142831</c:v>
                </c:pt>
                <c:pt idx="283">
                  <c:v>3096.1142857142831</c:v>
                </c:pt>
                <c:pt idx="284">
                  <c:v>3031.0000000000009</c:v>
                </c:pt>
                <c:pt idx="285">
                  <c:v>3031.0000000000009</c:v>
                </c:pt>
                <c:pt idx="286">
                  <c:v>3031.0000000000009</c:v>
                </c:pt>
                <c:pt idx="287">
                  <c:v>3031.0000000000009</c:v>
                </c:pt>
                <c:pt idx="288">
                  <c:v>3031.0000000000009</c:v>
                </c:pt>
                <c:pt idx="289">
                  <c:v>3031.0000000000009</c:v>
                </c:pt>
                <c:pt idx="290">
                  <c:v>3031.0000000000009</c:v>
                </c:pt>
                <c:pt idx="291">
                  <c:v>2783.1428571428564</c:v>
                </c:pt>
                <c:pt idx="292">
                  <c:v>2783.1428571428564</c:v>
                </c:pt>
                <c:pt idx="293">
                  <c:v>2783.1428571428564</c:v>
                </c:pt>
                <c:pt idx="294">
                  <c:v>2783.1428571428564</c:v>
                </c:pt>
                <c:pt idx="295">
                  <c:v>2783.1428571428564</c:v>
                </c:pt>
                <c:pt idx="296">
                  <c:v>2783.1428571428564</c:v>
                </c:pt>
                <c:pt idx="297">
                  <c:v>2783.1428571428564</c:v>
                </c:pt>
                <c:pt idx="298">
                  <c:v>2443.4571428571485</c:v>
                </c:pt>
                <c:pt idx="299">
                  <c:v>2443.4571428571485</c:v>
                </c:pt>
                <c:pt idx="300">
                  <c:v>2443.4571428571485</c:v>
                </c:pt>
                <c:pt idx="301">
                  <c:v>2443.4571428571485</c:v>
                </c:pt>
                <c:pt idx="302">
                  <c:v>2443.4571428571485</c:v>
                </c:pt>
                <c:pt idx="303">
                  <c:v>2443.4571428571485</c:v>
                </c:pt>
                <c:pt idx="304">
                  <c:v>2443.4571428571485</c:v>
                </c:pt>
                <c:pt idx="305">
                  <c:v>2443.4571428571485</c:v>
                </c:pt>
                <c:pt idx="306">
                  <c:v>2820.3142857142875</c:v>
                </c:pt>
                <c:pt idx="307">
                  <c:v>2820.3142857142875</c:v>
                </c:pt>
                <c:pt idx="308">
                  <c:v>2820.3142857142875</c:v>
                </c:pt>
                <c:pt idx="309">
                  <c:v>2820.3142857142875</c:v>
                </c:pt>
                <c:pt idx="310">
                  <c:v>2820.3142857142875</c:v>
                </c:pt>
                <c:pt idx="311">
                  <c:v>2820.3142857142875</c:v>
                </c:pt>
                <c:pt idx="312">
                  <c:v>2820.3142857142875</c:v>
                </c:pt>
                <c:pt idx="313">
                  <c:v>3155.2857142857138</c:v>
                </c:pt>
                <c:pt idx="314">
                  <c:v>3155.2857142857138</c:v>
                </c:pt>
                <c:pt idx="315">
                  <c:v>3155.2857142857138</c:v>
                </c:pt>
                <c:pt idx="316">
                  <c:v>3155.2857142857138</c:v>
                </c:pt>
                <c:pt idx="317">
                  <c:v>3155.2857142857138</c:v>
                </c:pt>
                <c:pt idx="318">
                  <c:v>3155.2857142857138</c:v>
                </c:pt>
                <c:pt idx="319">
                  <c:v>3155.2857142857138</c:v>
                </c:pt>
                <c:pt idx="320">
                  <c:v>3204.5142857142837</c:v>
                </c:pt>
                <c:pt idx="321">
                  <c:v>3204.5142857142837</c:v>
                </c:pt>
                <c:pt idx="322">
                  <c:v>3204.5142857142837</c:v>
                </c:pt>
                <c:pt idx="323">
                  <c:v>3204.5142857142837</c:v>
                </c:pt>
                <c:pt idx="324">
                  <c:v>3204.5142857142837</c:v>
                </c:pt>
                <c:pt idx="325">
                  <c:v>3204.5142857142837</c:v>
                </c:pt>
                <c:pt idx="326">
                  <c:v>3204.5142857142837</c:v>
                </c:pt>
                <c:pt idx="327">
                  <c:v>3216.9142857142829</c:v>
                </c:pt>
                <c:pt idx="328">
                  <c:v>3216.9142857142829</c:v>
                </c:pt>
                <c:pt idx="329">
                  <c:v>3216.9142857142829</c:v>
                </c:pt>
                <c:pt idx="330">
                  <c:v>3216.9142857142829</c:v>
                </c:pt>
                <c:pt idx="331">
                  <c:v>3216.9142857142829</c:v>
                </c:pt>
                <c:pt idx="332">
                  <c:v>3216.9142857142829</c:v>
                </c:pt>
                <c:pt idx="333">
                  <c:v>3216.9142857142829</c:v>
                </c:pt>
                <c:pt idx="334">
                  <c:v>3237.3142857142798</c:v>
                </c:pt>
                <c:pt idx="335">
                  <c:v>3237.3142857142798</c:v>
                </c:pt>
                <c:pt idx="336">
                  <c:v>3237.3142857142798</c:v>
                </c:pt>
                <c:pt idx="337">
                  <c:v>3237.3142857142798</c:v>
                </c:pt>
                <c:pt idx="338">
                  <c:v>3237.3142857142798</c:v>
                </c:pt>
                <c:pt idx="339">
                  <c:v>3237.3142857142798</c:v>
                </c:pt>
                <c:pt idx="340">
                  <c:v>3237.3142857142798</c:v>
                </c:pt>
                <c:pt idx="341">
                  <c:v>3178.1714285714284</c:v>
                </c:pt>
                <c:pt idx="342">
                  <c:v>3178.1714285714284</c:v>
                </c:pt>
                <c:pt idx="343">
                  <c:v>3178.1714285714284</c:v>
                </c:pt>
                <c:pt idx="344">
                  <c:v>3178.1714285714284</c:v>
                </c:pt>
                <c:pt idx="345">
                  <c:v>3178.1714285714284</c:v>
                </c:pt>
                <c:pt idx="346">
                  <c:v>3178.1714285714284</c:v>
                </c:pt>
                <c:pt idx="347">
                  <c:v>3178.1714285714284</c:v>
                </c:pt>
                <c:pt idx="348">
                  <c:v>3177.2857142857183</c:v>
                </c:pt>
                <c:pt idx="349">
                  <c:v>3177.2857142857183</c:v>
                </c:pt>
                <c:pt idx="350">
                  <c:v>3177.2857142857183</c:v>
                </c:pt>
                <c:pt idx="351">
                  <c:v>3177.2857142857183</c:v>
                </c:pt>
                <c:pt idx="352">
                  <c:v>3177.2857142857183</c:v>
                </c:pt>
                <c:pt idx="353">
                  <c:v>3177.2857142857183</c:v>
                </c:pt>
                <c:pt idx="354">
                  <c:v>3177.2857142857183</c:v>
                </c:pt>
                <c:pt idx="355">
                  <c:v>3199.7142857142844</c:v>
                </c:pt>
                <c:pt idx="356">
                  <c:v>3199.7142857142844</c:v>
                </c:pt>
                <c:pt idx="357">
                  <c:v>3199.7142857142844</c:v>
                </c:pt>
                <c:pt idx="358">
                  <c:v>3199.7142857142844</c:v>
                </c:pt>
                <c:pt idx="359">
                  <c:v>3199.7142857142844</c:v>
                </c:pt>
                <c:pt idx="360">
                  <c:v>3199.7142857142844</c:v>
                </c:pt>
                <c:pt idx="361">
                  <c:v>3199.7142857142844</c:v>
                </c:pt>
                <c:pt idx="362">
                  <c:v>3237.8857142857159</c:v>
                </c:pt>
                <c:pt idx="363">
                  <c:v>3237.8857142857159</c:v>
                </c:pt>
                <c:pt idx="364">
                  <c:v>3237.8857142857159</c:v>
                </c:pt>
                <c:pt idx="365">
                  <c:v>3237.8857142857159</c:v>
                </c:pt>
                <c:pt idx="366">
                  <c:v>3237.8857142857159</c:v>
                </c:pt>
                <c:pt idx="367">
                  <c:v>3237.8857142857159</c:v>
                </c:pt>
                <c:pt idx="368">
                  <c:v>3237.8857142857159</c:v>
                </c:pt>
                <c:pt idx="369">
                  <c:v>3177.4285714285725</c:v>
                </c:pt>
                <c:pt idx="370">
                  <c:v>3177.4285714285725</c:v>
                </c:pt>
                <c:pt idx="371">
                  <c:v>3177.4285714285725</c:v>
                </c:pt>
                <c:pt idx="372">
                  <c:v>3177.4285714285725</c:v>
                </c:pt>
                <c:pt idx="373">
                  <c:v>3177.4285714285725</c:v>
                </c:pt>
                <c:pt idx="374">
                  <c:v>3177.4285714285725</c:v>
                </c:pt>
                <c:pt idx="375">
                  <c:v>3177.4285714285725</c:v>
                </c:pt>
                <c:pt idx="376">
                  <c:v>3189.2857142857165</c:v>
                </c:pt>
                <c:pt idx="377">
                  <c:v>3189.2857142857165</c:v>
                </c:pt>
                <c:pt idx="378">
                  <c:v>3189.2857142857165</c:v>
                </c:pt>
                <c:pt idx="379">
                  <c:v>3189.2857142857165</c:v>
                </c:pt>
                <c:pt idx="380">
                  <c:v>3189.2857142857165</c:v>
                </c:pt>
                <c:pt idx="381">
                  <c:v>3189.2857142857165</c:v>
                </c:pt>
                <c:pt idx="382">
                  <c:v>3189.2857142857165</c:v>
                </c:pt>
                <c:pt idx="383">
                  <c:v>3179.0857142857108</c:v>
                </c:pt>
                <c:pt idx="384">
                  <c:v>3179.0857142857108</c:v>
                </c:pt>
                <c:pt idx="385">
                  <c:v>3179.0857142857108</c:v>
                </c:pt>
                <c:pt idx="386">
                  <c:v>3179.0857142857108</c:v>
                </c:pt>
                <c:pt idx="387">
                  <c:v>3179.0857142857108</c:v>
                </c:pt>
                <c:pt idx="388">
                  <c:v>3179.0857142857108</c:v>
                </c:pt>
                <c:pt idx="389">
                  <c:v>3179.0857142857108</c:v>
                </c:pt>
                <c:pt idx="390">
                  <c:v>3140.171428571432</c:v>
                </c:pt>
                <c:pt idx="391">
                  <c:v>3140.171428571432</c:v>
                </c:pt>
                <c:pt idx="392">
                  <c:v>3140.171428571432</c:v>
                </c:pt>
                <c:pt idx="393">
                  <c:v>3140.171428571432</c:v>
                </c:pt>
                <c:pt idx="394">
                  <c:v>3140.171428571432</c:v>
                </c:pt>
                <c:pt idx="395">
                  <c:v>3140.171428571432</c:v>
                </c:pt>
                <c:pt idx="396">
                  <c:v>3140.171428571432</c:v>
                </c:pt>
                <c:pt idx="397">
                  <c:v>3111.5714285714275</c:v>
                </c:pt>
                <c:pt idx="398">
                  <c:v>3111.5714285714275</c:v>
                </c:pt>
                <c:pt idx="399">
                  <c:v>3111.5714285714275</c:v>
                </c:pt>
                <c:pt idx="400">
                  <c:v>3111.5714285714275</c:v>
                </c:pt>
                <c:pt idx="401">
                  <c:v>3111.5714285714275</c:v>
                </c:pt>
                <c:pt idx="402">
                  <c:v>3111.5714285714275</c:v>
                </c:pt>
                <c:pt idx="403">
                  <c:v>3111.5714285714275</c:v>
                </c:pt>
                <c:pt idx="404">
                  <c:v>3137.8571428571445</c:v>
                </c:pt>
                <c:pt idx="405">
                  <c:v>3137.8571428571445</c:v>
                </c:pt>
                <c:pt idx="406">
                  <c:v>3137.8571428571445</c:v>
                </c:pt>
                <c:pt idx="407">
                  <c:v>3137.8571428571445</c:v>
                </c:pt>
                <c:pt idx="408">
                  <c:v>3137.8571428571445</c:v>
                </c:pt>
                <c:pt idx="409">
                  <c:v>3137.8571428571445</c:v>
                </c:pt>
                <c:pt idx="410">
                  <c:v>3137.8571428571445</c:v>
                </c:pt>
                <c:pt idx="411">
                  <c:v>3102.5142857142932</c:v>
                </c:pt>
                <c:pt idx="412">
                  <c:v>3102.5142857142932</c:v>
                </c:pt>
                <c:pt idx="413">
                  <c:v>3102.5142857142932</c:v>
                </c:pt>
                <c:pt idx="414">
                  <c:v>3102.5142857142932</c:v>
                </c:pt>
                <c:pt idx="415">
                  <c:v>3102.5142857142932</c:v>
                </c:pt>
                <c:pt idx="416">
                  <c:v>3102.5142857142932</c:v>
                </c:pt>
                <c:pt idx="417">
                  <c:v>3102.5142857142932</c:v>
                </c:pt>
                <c:pt idx="418">
                  <c:v>3109.8285714285707</c:v>
                </c:pt>
                <c:pt idx="419">
                  <c:v>3109.8285714285707</c:v>
                </c:pt>
                <c:pt idx="420">
                  <c:v>3109.8285714285707</c:v>
                </c:pt>
                <c:pt idx="421">
                  <c:v>3109.8285714285707</c:v>
                </c:pt>
                <c:pt idx="422">
                  <c:v>3109.8285714285707</c:v>
                </c:pt>
                <c:pt idx="423">
                  <c:v>3109.8285714285707</c:v>
                </c:pt>
                <c:pt idx="424">
                  <c:v>3109.8285714285707</c:v>
                </c:pt>
                <c:pt idx="425">
                  <c:v>3107.3142857142861</c:v>
                </c:pt>
                <c:pt idx="426">
                  <c:v>3107.3142857142861</c:v>
                </c:pt>
                <c:pt idx="427">
                  <c:v>3107.3142857142861</c:v>
                </c:pt>
                <c:pt idx="428">
                  <c:v>3107.3142857142861</c:v>
                </c:pt>
                <c:pt idx="429">
                  <c:v>3107.3142857142861</c:v>
                </c:pt>
                <c:pt idx="430">
                  <c:v>3107.3142857142861</c:v>
                </c:pt>
                <c:pt idx="431">
                  <c:v>3107.3142857142861</c:v>
                </c:pt>
                <c:pt idx="432">
                  <c:v>3007.6857142857152</c:v>
                </c:pt>
                <c:pt idx="433">
                  <c:v>3007.6857142857152</c:v>
                </c:pt>
                <c:pt idx="434">
                  <c:v>3007.6857142857152</c:v>
                </c:pt>
                <c:pt idx="435">
                  <c:v>3007.6857142857152</c:v>
                </c:pt>
                <c:pt idx="436">
                  <c:v>3007.6857142857152</c:v>
                </c:pt>
                <c:pt idx="437">
                  <c:v>3007.6857142857152</c:v>
                </c:pt>
                <c:pt idx="438">
                  <c:v>3007.6857142857152</c:v>
                </c:pt>
                <c:pt idx="439">
                  <c:v>3070.2285714285763</c:v>
                </c:pt>
                <c:pt idx="440">
                  <c:v>3070.2285714285763</c:v>
                </c:pt>
                <c:pt idx="441">
                  <c:v>3070.2285714285763</c:v>
                </c:pt>
                <c:pt idx="442">
                  <c:v>3070.2285714285763</c:v>
                </c:pt>
                <c:pt idx="443">
                  <c:v>3070.2285714285763</c:v>
                </c:pt>
                <c:pt idx="444">
                  <c:v>3070.2285714285763</c:v>
                </c:pt>
                <c:pt idx="445">
                  <c:v>3070.2285714285763</c:v>
                </c:pt>
                <c:pt idx="446">
                  <c:v>3084.8857142857069</c:v>
                </c:pt>
                <c:pt idx="447">
                  <c:v>3084.8857142857069</c:v>
                </c:pt>
                <c:pt idx="448">
                  <c:v>3084.8857142857069</c:v>
                </c:pt>
                <c:pt idx="449">
                  <c:v>3084.8857142857069</c:v>
                </c:pt>
                <c:pt idx="450">
                  <c:v>3084.8857142857069</c:v>
                </c:pt>
                <c:pt idx="451">
                  <c:v>3084.8857142857069</c:v>
                </c:pt>
                <c:pt idx="452">
                  <c:v>3084.8857142857069</c:v>
                </c:pt>
                <c:pt idx="453">
                  <c:v>3111.0571428571448</c:v>
                </c:pt>
                <c:pt idx="454">
                  <c:v>3111.0571428571448</c:v>
                </c:pt>
                <c:pt idx="455">
                  <c:v>3111.0571428571448</c:v>
                </c:pt>
                <c:pt idx="456">
                  <c:v>3111.0571428571448</c:v>
                </c:pt>
                <c:pt idx="457">
                  <c:v>3111.0571428571448</c:v>
                </c:pt>
                <c:pt idx="458">
                  <c:v>3111.0571428571448</c:v>
                </c:pt>
                <c:pt idx="459">
                  <c:v>3111.0571428571448</c:v>
                </c:pt>
                <c:pt idx="460">
                  <c:v>3051.1999999999994</c:v>
                </c:pt>
                <c:pt idx="461">
                  <c:v>3051.1999999999994</c:v>
                </c:pt>
                <c:pt idx="462">
                  <c:v>3051.1999999999994</c:v>
                </c:pt>
                <c:pt idx="463">
                  <c:v>3051.1999999999994</c:v>
                </c:pt>
                <c:pt idx="464">
                  <c:v>3051.1999999999994</c:v>
                </c:pt>
                <c:pt idx="465">
                  <c:v>3051.1999999999994</c:v>
                </c:pt>
                <c:pt idx="466">
                  <c:v>3051.1999999999994</c:v>
                </c:pt>
                <c:pt idx="467">
                  <c:v>3063.9999999999991</c:v>
                </c:pt>
                <c:pt idx="468">
                  <c:v>3063.9999999999991</c:v>
                </c:pt>
                <c:pt idx="469">
                  <c:v>3063.9999999999991</c:v>
                </c:pt>
                <c:pt idx="470">
                  <c:v>3063.9999999999991</c:v>
                </c:pt>
                <c:pt idx="471">
                  <c:v>3063.9999999999991</c:v>
                </c:pt>
                <c:pt idx="472">
                  <c:v>3063.9999999999991</c:v>
                </c:pt>
                <c:pt idx="473">
                  <c:v>3063.9999999999991</c:v>
                </c:pt>
                <c:pt idx="474">
                  <c:v>3058.3428571428572</c:v>
                </c:pt>
                <c:pt idx="475">
                  <c:v>3058.3428571428572</c:v>
                </c:pt>
                <c:pt idx="476">
                  <c:v>3058.3428571428572</c:v>
                </c:pt>
                <c:pt idx="477">
                  <c:v>3058.3428571428572</c:v>
                </c:pt>
                <c:pt idx="478">
                  <c:v>3058.3428571428572</c:v>
                </c:pt>
                <c:pt idx="479">
                  <c:v>3058.3428571428572</c:v>
                </c:pt>
                <c:pt idx="480">
                  <c:v>3058.3428571428572</c:v>
                </c:pt>
                <c:pt idx="481">
                  <c:v>3054.8571428571486</c:v>
                </c:pt>
                <c:pt idx="482">
                  <c:v>3054.8571428571486</c:v>
                </c:pt>
                <c:pt idx="483">
                  <c:v>3054.8571428571486</c:v>
                </c:pt>
                <c:pt idx="484">
                  <c:v>3054.8571428571486</c:v>
                </c:pt>
                <c:pt idx="485">
                  <c:v>3054.8571428571486</c:v>
                </c:pt>
                <c:pt idx="486">
                  <c:v>3054.8571428571486</c:v>
                </c:pt>
                <c:pt idx="487">
                  <c:v>3054.8571428571486</c:v>
                </c:pt>
                <c:pt idx="488">
                  <c:v>2652.685714285717</c:v>
                </c:pt>
                <c:pt idx="489">
                  <c:v>2652.685714285717</c:v>
                </c:pt>
                <c:pt idx="490">
                  <c:v>2652.685714285717</c:v>
                </c:pt>
                <c:pt idx="491">
                  <c:v>2652.685714285717</c:v>
                </c:pt>
                <c:pt idx="492">
                  <c:v>2652.685714285717</c:v>
                </c:pt>
                <c:pt idx="493">
                  <c:v>2652.685714285717</c:v>
                </c:pt>
                <c:pt idx="494">
                  <c:v>2652.685714285717</c:v>
                </c:pt>
                <c:pt idx="495">
                  <c:v>2770.2000000000057</c:v>
                </c:pt>
                <c:pt idx="496">
                  <c:v>2770.2000000000057</c:v>
                </c:pt>
                <c:pt idx="497">
                  <c:v>2770.2000000000057</c:v>
                </c:pt>
                <c:pt idx="498">
                  <c:v>2770.2000000000057</c:v>
                </c:pt>
                <c:pt idx="499">
                  <c:v>2770.2000000000057</c:v>
                </c:pt>
                <c:pt idx="500">
                  <c:v>2770.2000000000057</c:v>
                </c:pt>
                <c:pt idx="501">
                  <c:v>2770.2000000000057</c:v>
                </c:pt>
                <c:pt idx="502">
                  <c:v>2731.2285714285722</c:v>
                </c:pt>
                <c:pt idx="503">
                  <c:v>2731.2285714285722</c:v>
                </c:pt>
                <c:pt idx="504">
                  <c:v>2731.2285714285722</c:v>
                </c:pt>
                <c:pt idx="505">
                  <c:v>2731.2285714285722</c:v>
                </c:pt>
                <c:pt idx="506">
                  <c:v>2731.2285714285722</c:v>
                </c:pt>
                <c:pt idx="507">
                  <c:v>2731.2285714285722</c:v>
                </c:pt>
                <c:pt idx="508">
                  <c:v>2731.2285714285722</c:v>
                </c:pt>
                <c:pt idx="509">
                  <c:v>2683.5428571428538</c:v>
                </c:pt>
                <c:pt idx="510">
                  <c:v>2683.5428571428538</c:v>
                </c:pt>
                <c:pt idx="511">
                  <c:v>2683.5428571428538</c:v>
                </c:pt>
                <c:pt idx="512">
                  <c:v>2683.5428571428538</c:v>
                </c:pt>
                <c:pt idx="513">
                  <c:v>2683.5428571428538</c:v>
                </c:pt>
                <c:pt idx="514">
                  <c:v>2683.5428571428538</c:v>
                </c:pt>
                <c:pt idx="515">
                  <c:v>2683.5428571428538</c:v>
                </c:pt>
                <c:pt idx="516">
                  <c:v>2636.1714285714306</c:v>
                </c:pt>
                <c:pt idx="517">
                  <c:v>2636.1714285714306</c:v>
                </c:pt>
                <c:pt idx="518">
                  <c:v>2636.1714285714306</c:v>
                </c:pt>
                <c:pt idx="519">
                  <c:v>2636.1714285714306</c:v>
                </c:pt>
                <c:pt idx="520">
                  <c:v>2636.1714285714306</c:v>
                </c:pt>
                <c:pt idx="521">
                  <c:v>2636.1714285714306</c:v>
                </c:pt>
                <c:pt idx="522">
                  <c:v>2636.1714285714306</c:v>
                </c:pt>
                <c:pt idx="523">
                  <c:v>2604.3428571428567</c:v>
                </c:pt>
                <c:pt idx="524">
                  <c:v>2604.3428571428567</c:v>
                </c:pt>
                <c:pt idx="525">
                  <c:v>2604.3428571428567</c:v>
                </c:pt>
                <c:pt idx="526">
                  <c:v>2604.3428571428567</c:v>
                </c:pt>
                <c:pt idx="527">
                  <c:v>2604.3428571428567</c:v>
                </c:pt>
                <c:pt idx="528">
                  <c:v>2604.3428571428567</c:v>
                </c:pt>
                <c:pt idx="529">
                  <c:v>2604.3428571428567</c:v>
                </c:pt>
                <c:pt idx="530">
                  <c:v>2657.9714285714304</c:v>
                </c:pt>
                <c:pt idx="531">
                  <c:v>2657.97142857143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57-4E39-B9F0-0DC494C004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 w="952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D$2:$D$533</c:f>
              <c:numCache>
                <c:formatCode>General</c:formatCode>
                <c:ptCount val="532"/>
                <c:pt idx="0">
                  <c:v>3126.714285714278</c:v>
                </c:pt>
                <c:pt idx="1">
                  <c:v>3126.714285714278</c:v>
                </c:pt>
                <c:pt idx="2">
                  <c:v>3126.714285714278</c:v>
                </c:pt>
                <c:pt idx="3">
                  <c:v>3126.714285714278</c:v>
                </c:pt>
                <c:pt idx="4">
                  <c:v>3092.1428571428637</c:v>
                </c:pt>
                <c:pt idx="5">
                  <c:v>3092.1428571428637</c:v>
                </c:pt>
                <c:pt idx="6">
                  <c:v>3092.1428571428637</c:v>
                </c:pt>
                <c:pt idx="7">
                  <c:v>3092.1428571428637</c:v>
                </c:pt>
                <c:pt idx="8">
                  <c:v>3092.1428571428637</c:v>
                </c:pt>
                <c:pt idx="9">
                  <c:v>3092.1428571428637</c:v>
                </c:pt>
                <c:pt idx="10">
                  <c:v>3092.1428571428637</c:v>
                </c:pt>
                <c:pt idx="11">
                  <c:v>3058.5714285714284</c:v>
                </c:pt>
                <c:pt idx="12">
                  <c:v>3058.5714285714284</c:v>
                </c:pt>
                <c:pt idx="13">
                  <c:v>3058.5714285714284</c:v>
                </c:pt>
                <c:pt idx="14">
                  <c:v>3058.5714285714284</c:v>
                </c:pt>
                <c:pt idx="15">
                  <c:v>3058.5714285714284</c:v>
                </c:pt>
                <c:pt idx="16">
                  <c:v>3058.5714285714284</c:v>
                </c:pt>
                <c:pt idx="17">
                  <c:v>3058.5714285714284</c:v>
                </c:pt>
                <c:pt idx="18">
                  <c:v>3078.5714285714121</c:v>
                </c:pt>
                <c:pt idx="19">
                  <c:v>3078.5714285714121</c:v>
                </c:pt>
                <c:pt idx="20">
                  <c:v>3078.5714285714121</c:v>
                </c:pt>
                <c:pt idx="21">
                  <c:v>3078.5714285714121</c:v>
                </c:pt>
                <c:pt idx="22">
                  <c:v>3078.5714285714121</c:v>
                </c:pt>
                <c:pt idx="23">
                  <c:v>3078.5714285714121</c:v>
                </c:pt>
                <c:pt idx="24">
                  <c:v>3078.5714285714121</c:v>
                </c:pt>
                <c:pt idx="25">
                  <c:v>2999.5714285714198</c:v>
                </c:pt>
                <c:pt idx="26">
                  <c:v>2999.5714285714198</c:v>
                </c:pt>
                <c:pt idx="27">
                  <c:v>2999.5714285714198</c:v>
                </c:pt>
                <c:pt idx="28">
                  <c:v>2999.5714285714198</c:v>
                </c:pt>
                <c:pt idx="29">
                  <c:v>2999.5714285714198</c:v>
                </c:pt>
                <c:pt idx="30">
                  <c:v>2999.5714285714198</c:v>
                </c:pt>
                <c:pt idx="31">
                  <c:v>2999.5714285714198</c:v>
                </c:pt>
                <c:pt idx="32">
                  <c:v>3043.7142857142858</c:v>
                </c:pt>
                <c:pt idx="33">
                  <c:v>3043.7142857142858</c:v>
                </c:pt>
                <c:pt idx="34">
                  <c:v>3043.7142857142858</c:v>
                </c:pt>
                <c:pt idx="35">
                  <c:v>3043.7142857142858</c:v>
                </c:pt>
                <c:pt idx="36">
                  <c:v>3043.7142857142858</c:v>
                </c:pt>
                <c:pt idx="37">
                  <c:v>3043.7142857142858</c:v>
                </c:pt>
                <c:pt idx="38">
                  <c:v>3043.7142857142858</c:v>
                </c:pt>
                <c:pt idx="39">
                  <c:v>3040.5714285714316</c:v>
                </c:pt>
                <c:pt idx="40">
                  <c:v>3040.5714285714316</c:v>
                </c:pt>
                <c:pt idx="41">
                  <c:v>3040.5714285714316</c:v>
                </c:pt>
                <c:pt idx="42">
                  <c:v>3040.5714285714316</c:v>
                </c:pt>
                <c:pt idx="43">
                  <c:v>3040.5714285714316</c:v>
                </c:pt>
                <c:pt idx="44">
                  <c:v>3040.5714285714316</c:v>
                </c:pt>
                <c:pt idx="45">
                  <c:v>3040.5714285714316</c:v>
                </c:pt>
                <c:pt idx="46">
                  <c:v>2899.2857142857169</c:v>
                </c:pt>
                <c:pt idx="47">
                  <c:v>2899.2857142857169</c:v>
                </c:pt>
                <c:pt idx="48">
                  <c:v>2899.2857142857169</c:v>
                </c:pt>
                <c:pt idx="49">
                  <c:v>2899.2857142857169</c:v>
                </c:pt>
                <c:pt idx="50">
                  <c:v>2899.2857142857169</c:v>
                </c:pt>
                <c:pt idx="51">
                  <c:v>2899.2857142857169</c:v>
                </c:pt>
                <c:pt idx="52">
                  <c:v>2899.2857142857169</c:v>
                </c:pt>
                <c:pt idx="53">
                  <c:v>3031.7142857142849</c:v>
                </c:pt>
                <c:pt idx="54">
                  <c:v>3031.7142857142849</c:v>
                </c:pt>
                <c:pt idx="55">
                  <c:v>3031.7142857142849</c:v>
                </c:pt>
                <c:pt idx="56">
                  <c:v>3031.7142857142849</c:v>
                </c:pt>
                <c:pt idx="57">
                  <c:v>3031.7142857142849</c:v>
                </c:pt>
                <c:pt idx="58">
                  <c:v>3031.7142857142849</c:v>
                </c:pt>
                <c:pt idx="59">
                  <c:v>3031.7142857142849</c:v>
                </c:pt>
                <c:pt idx="60">
                  <c:v>2964.5714285714271</c:v>
                </c:pt>
                <c:pt idx="61">
                  <c:v>2964.5714285714271</c:v>
                </c:pt>
                <c:pt idx="62">
                  <c:v>2964.5714285714271</c:v>
                </c:pt>
                <c:pt idx="63">
                  <c:v>2964.5714285714271</c:v>
                </c:pt>
                <c:pt idx="64">
                  <c:v>2964.5714285714271</c:v>
                </c:pt>
                <c:pt idx="65">
                  <c:v>2964.5714285714271</c:v>
                </c:pt>
                <c:pt idx="66">
                  <c:v>2964.5714285714271</c:v>
                </c:pt>
                <c:pt idx="67">
                  <c:v>2919.8571428571463</c:v>
                </c:pt>
                <c:pt idx="68">
                  <c:v>2919.8571428571463</c:v>
                </c:pt>
                <c:pt idx="69">
                  <c:v>2919.8571428571463</c:v>
                </c:pt>
                <c:pt idx="70">
                  <c:v>2919.8571428571463</c:v>
                </c:pt>
                <c:pt idx="71">
                  <c:v>2919.8571428571463</c:v>
                </c:pt>
                <c:pt idx="72">
                  <c:v>2919.8571428571463</c:v>
                </c:pt>
                <c:pt idx="73">
                  <c:v>2919.8571428571463</c:v>
                </c:pt>
                <c:pt idx="74">
                  <c:v>2964.571428571438</c:v>
                </c:pt>
                <c:pt idx="75">
                  <c:v>2964.571428571438</c:v>
                </c:pt>
                <c:pt idx="76">
                  <c:v>2964.571428571438</c:v>
                </c:pt>
                <c:pt idx="77">
                  <c:v>2964.571428571438</c:v>
                </c:pt>
                <c:pt idx="78">
                  <c:v>2964.571428571438</c:v>
                </c:pt>
                <c:pt idx="79">
                  <c:v>2964.571428571438</c:v>
                </c:pt>
                <c:pt idx="80">
                  <c:v>2964.571428571438</c:v>
                </c:pt>
                <c:pt idx="81">
                  <c:v>3004.857142857144</c:v>
                </c:pt>
                <c:pt idx="82">
                  <c:v>3004.857142857144</c:v>
                </c:pt>
                <c:pt idx="83">
                  <c:v>3004.857142857144</c:v>
                </c:pt>
                <c:pt idx="84">
                  <c:v>3004.857142857144</c:v>
                </c:pt>
                <c:pt idx="85">
                  <c:v>3004.857142857144</c:v>
                </c:pt>
                <c:pt idx="86">
                  <c:v>3004.857142857144</c:v>
                </c:pt>
                <c:pt idx="87">
                  <c:v>3004.857142857144</c:v>
                </c:pt>
                <c:pt idx="88">
                  <c:v>3032.4285714285761</c:v>
                </c:pt>
                <c:pt idx="89">
                  <c:v>3032.4285714285761</c:v>
                </c:pt>
                <c:pt idx="90">
                  <c:v>3032.4285714285761</c:v>
                </c:pt>
                <c:pt idx="91">
                  <c:v>3032.4285714285761</c:v>
                </c:pt>
                <c:pt idx="92">
                  <c:v>3032.4285714285761</c:v>
                </c:pt>
                <c:pt idx="93">
                  <c:v>3032.4285714285761</c:v>
                </c:pt>
                <c:pt idx="94">
                  <c:v>3032.4285714285761</c:v>
                </c:pt>
                <c:pt idx="95">
                  <c:v>3011.1428571428573</c:v>
                </c:pt>
                <c:pt idx="96">
                  <c:v>3011.1428571428573</c:v>
                </c:pt>
                <c:pt idx="97">
                  <c:v>3011.1428571428573</c:v>
                </c:pt>
                <c:pt idx="98">
                  <c:v>3011.1428571428573</c:v>
                </c:pt>
                <c:pt idx="99">
                  <c:v>3011.1428571428573</c:v>
                </c:pt>
                <c:pt idx="100">
                  <c:v>3011.1428571428573</c:v>
                </c:pt>
                <c:pt idx="101">
                  <c:v>3011.1428571428573</c:v>
                </c:pt>
                <c:pt idx="102">
                  <c:v>3013.1428571428428</c:v>
                </c:pt>
                <c:pt idx="103">
                  <c:v>3013.1428571428428</c:v>
                </c:pt>
                <c:pt idx="104">
                  <c:v>3013.1428571428428</c:v>
                </c:pt>
                <c:pt idx="105">
                  <c:v>3013.1428571428428</c:v>
                </c:pt>
                <c:pt idx="106">
                  <c:v>3013.1428571428428</c:v>
                </c:pt>
                <c:pt idx="107">
                  <c:v>3013.1428571428428</c:v>
                </c:pt>
                <c:pt idx="108">
                  <c:v>3013.1428571428428</c:v>
                </c:pt>
                <c:pt idx="109">
                  <c:v>2997.7142857142903</c:v>
                </c:pt>
                <c:pt idx="110">
                  <c:v>2997.7142857142903</c:v>
                </c:pt>
                <c:pt idx="111">
                  <c:v>2997.7142857142903</c:v>
                </c:pt>
                <c:pt idx="112">
                  <c:v>2997.7142857142903</c:v>
                </c:pt>
                <c:pt idx="113">
                  <c:v>2997.7142857142903</c:v>
                </c:pt>
                <c:pt idx="114">
                  <c:v>2997.7142857142903</c:v>
                </c:pt>
                <c:pt idx="115">
                  <c:v>2997.7142857142903</c:v>
                </c:pt>
                <c:pt idx="116">
                  <c:v>2930.2857142857138</c:v>
                </c:pt>
                <c:pt idx="117">
                  <c:v>2930.2857142857138</c:v>
                </c:pt>
                <c:pt idx="118">
                  <c:v>2930.2857142857138</c:v>
                </c:pt>
                <c:pt idx="119">
                  <c:v>2930.2857142857138</c:v>
                </c:pt>
                <c:pt idx="120">
                  <c:v>2930.2857142857138</c:v>
                </c:pt>
                <c:pt idx="121">
                  <c:v>2930.2857142857138</c:v>
                </c:pt>
                <c:pt idx="122">
                  <c:v>2930.2857142857138</c:v>
                </c:pt>
                <c:pt idx="123">
                  <c:v>2547.142857142861</c:v>
                </c:pt>
                <c:pt idx="124">
                  <c:v>2547.142857142861</c:v>
                </c:pt>
                <c:pt idx="125">
                  <c:v>2547.142857142861</c:v>
                </c:pt>
                <c:pt idx="126">
                  <c:v>2547.142857142861</c:v>
                </c:pt>
                <c:pt idx="127">
                  <c:v>2547.142857142861</c:v>
                </c:pt>
                <c:pt idx="128">
                  <c:v>2547.142857142861</c:v>
                </c:pt>
                <c:pt idx="129">
                  <c:v>2547.142857142861</c:v>
                </c:pt>
                <c:pt idx="130">
                  <c:v>2612.0000000000132</c:v>
                </c:pt>
                <c:pt idx="131">
                  <c:v>2612.0000000000132</c:v>
                </c:pt>
                <c:pt idx="132">
                  <c:v>2612.0000000000132</c:v>
                </c:pt>
                <c:pt idx="133">
                  <c:v>2612.0000000000132</c:v>
                </c:pt>
                <c:pt idx="134">
                  <c:v>2612.0000000000132</c:v>
                </c:pt>
                <c:pt idx="135">
                  <c:v>2612.0000000000132</c:v>
                </c:pt>
                <c:pt idx="136">
                  <c:v>2612.0000000000132</c:v>
                </c:pt>
                <c:pt idx="137">
                  <c:v>2600.4285714285879</c:v>
                </c:pt>
                <c:pt idx="138">
                  <c:v>2600.4285714285879</c:v>
                </c:pt>
                <c:pt idx="139">
                  <c:v>2600.4285714285879</c:v>
                </c:pt>
                <c:pt idx="140">
                  <c:v>2600.4285714285879</c:v>
                </c:pt>
                <c:pt idx="141">
                  <c:v>2600.4285714285879</c:v>
                </c:pt>
                <c:pt idx="142">
                  <c:v>2600.4285714285879</c:v>
                </c:pt>
                <c:pt idx="143">
                  <c:v>2600.4285714285879</c:v>
                </c:pt>
                <c:pt idx="144">
                  <c:v>2579.1428571428487</c:v>
                </c:pt>
                <c:pt idx="145">
                  <c:v>2579.1428571428487</c:v>
                </c:pt>
                <c:pt idx="146">
                  <c:v>2579.1428571428487</c:v>
                </c:pt>
                <c:pt idx="147">
                  <c:v>2579.1428571428487</c:v>
                </c:pt>
                <c:pt idx="148">
                  <c:v>2579.1428571428487</c:v>
                </c:pt>
                <c:pt idx="149">
                  <c:v>2579.1428571428487</c:v>
                </c:pt>
                <c:pt idx="150">
                  <c:v>2579.1428571428487</c:v>
                </c:pt>
                <c:pt idx="151">
                  <c:v>2534.1428571428505</c:v>
                </c:pt>
                <c:pt idx="152">
                  <c:v>2534.1428571428505</c:v>
                </c:pt>
                <c:pt idx="153">
                  <c:v>2534.1428571428505</c:v>
                </c:pt>
                <c:pt idx="154">
                  <c:v>2534.1428571428505</c:v>
                </c:pt>
                <c:pt idx="155">
                  <c:v>2534.1428571428505</c:v>
                </c:pt>
                <c:pt idx="156">
                  <c:v>2534.1428571428505</c:v>
                </c:pt>
                <c:pt idx="157">
                  <c:v>2534.1428571428505</c:v>
                </c:pt>
                <c:pt idx="158">
                  <c:v>2550.9999999999905</c:v>
                </c:pt>
                <c:pt idx="159">
                  <c:v>2550.9999999999905</c:v>
                </c:pt>
                <c:pt idx="160">
                  <c:v>2550.9999999999905</c:v>
                </c:pt>
                <c:pt idx="161">
                  <c:v>2550.9999999999905</c:v>
                </c:pt>
                <c:pt idx="162">
                  <c:v>2550.9999999999905</c:v>
                </c:pt>
                <c:pt idx="163">
                  <c:v>2550.9999999999905</c:v>
                </c:pt>
                <c:pt idx="164">
                  <c:v>2550.9999999999905</c:v>
                </c:pt>
                <c:pt idx="165">
                  <c:v>2614.0000000000005</c:v>
                </c:pt>
                <c:pt idx="166">
                  <c:v>2614.0000000000005</c:v>
                </c:pt>
                <c:pt idx="167">
                  <c:v>2614.0000000000005</c:v>
                </c:pt>
                <c:pt idx="168">
                  <c:v>2614.0000000000005</c:v>
                </c:pt>
                <c:pt idx="169">
                  <c:v>2614.0000000000005</c:v>
                </c:pt>
                <c:pt idx="170">
                  <c:v>2614.0000000000005</c:v>
                </c:pt>
                <c:pt idx="171">
                  <c:v>2614.0000000000005</c:v>
                </c:pt>
                <c:pt idx="172">
                  <c:v>2653.7142857142826</c:v>
                </c:pt>
                <c:pt idx="173">
                  <c:v>2653.7142857142826</c:v>
                </c:pt>
                <c:pt idx="174">
                  <c:v>2653.7142857142826</c:v>
                </c:pt>
                <c:pt idx="175">
                  <c:v>2653.7142857142826</c:v>
                </c:pt>
                <c:pt idx="176">
                  <c:v>2653.7142857142826</c:v>
                </c:pt>
                <c:pt idx="177">
                  <c:v>2653.7142857142826</c:v>
                </c:pt>
                <c:pt idx="178">
                  <c:v>2653.7142857142826</c:v>
                </c:pt>
                <c:pt idx="179">
                  <c:v>2724.2857142857215</c:v>
                </c:pt>
                <c:pt idx="180">
                  <c:v>2724.2857142857215</c:v>
                </c:pt>
                <c:pt idx="181">
                  <c:v>2724.2857142857215</c:v>
                </c:pt>
                <c:pt idx="182">
                  <c:v>2724.2857142857215</c:v>
                </c:pt>
                <c:pt idx="183">
                  <c:v>2724.2857142857215</c:v>
                </c:pt>
                <c:pt idx="184">
                  <c:v>2724.2857142857215</c:v>
                </c:pt>
                <c:pt idx="185">
                  <c:v>2724.2857142857215</c:v>
                </c:pt>
                <c:pt idx="186">
                  <c:v>2863.4285714285697</c:v>
                </c:pt>
                <c:pt idx="187">
                  <c:v>2863.4285714285697</c:v>
                </c:pt>
                <c:pt idx="188">
                  <c:v>2863.4285714285697</c:v>
                </c:pt>
                <c:pt idx="189">
                  <c:v>2863.4285714285697</c:v>
                </c:pt>
                <c:pt idx="190">
                  <c:v>2863.4285714285697</c:v>
                </c:pt>
                <c:pt idx="191">
                  <c:v>2863.4285714285697</c:v>
                </c:pt>
                <c:pt idx="192">
                  <c:v>2863.4285714285697</c:v>
                </c:pt>
                <c:pt idx="193">
                  <c:v>2935.5714285714407</c:v>
                </c:pt>
                <c:pt idx="194">
                  <c:v>2935.5714285714407</c:v>
                </c:pt>
                <c:pt idx="195">
                  <c:v>2935.5714285714407</c:v>
                </c:pt>
                <c:pt idx="196">
                  <c:v>2935.5714285714407</c:v>
                </c:pt>
                <c:pt idx="197">
                  <c:v>2935.5714285714407</c:v>
                </c:pt>
                <c:pt idx="198">
                  <c:v>2935.5714285714407</c:v>
                </c:pt>
                <c:pt idx="199">
                  <c:v>2935.5714285714407</c:v>
                </c:pt>
                <c:pt idx="200">
                  <c:v>2980.2857142857242</c:v>
                </c:pt>
                <c:pt idx="201">
                  <c:v>2980.2857142857242</c:v>
                </c:pt>
                <c:pt idx="202">
                  <c:v>2980.2857142857242</c:v>
                </c:pt>
                <c:pt idx="203">
                  <c:v>2980.2857142857242</c:v>
                </c:pt>
                <c:pt idx="204">
                  <c:v>2980.2857142857242</c:v>
                </c:pt>
                <c:pt idx="205">
                  <c:v>2980.2857142857242</c:v>
                </c:pt>
                <c:pt idx="206">
                  <c:v>2980.2857142857242</c:v>
                </c:pt>
                <c:pt idx="207">
                  <c:v>2920.5714285714239</c:v>
                </c:pt>
                <c:pt idx="208">
                  <c:v>2920.5714285714239</c:v>
                </c:pt>
                <c:pt idx="209">
                  <c:v>2920.5714285714239</c:v>
                </c:pt>
                <c:pt idx="210">
                  <c:v>2920.5714285714239</c:v>
                </c:pt>
                <c:pt idx="211">
                  <c:v>2920.5714285714239</c:v>
                </c:pt>
                <c:pt idx="212">
                  <c:v>2920.5714285714239</c:v>
                </c:pt>
                <c:pt idx="213">
                  <c:v>2920.5714285714239</c:v>
                </c:pt>
                <c:pt idx="214">
                  <c:v>2990.8571428571586</c:v>
                </c:pt>
                <c:pt idx="215">
                  <c:v>2990.8571428571586</c:v>
                </c:pt>
                <c:pt idx="216">
                  <c:v>2990.8571428571586</c:v>
                </c:pt>
                <c:pt idx="217">
                  <c:v>2990.8571428571586</c:v>
                </c:pt>
                <c:pt idx="218">
                  <c:v>2990.8571428571586</c:v>
                </c:pt>
                <c:pt idx="219">
                  <c:v>2990.8571428571586</c:v>
                </c:pt>
                <c:pt idx="220">
                  <c:v>2990.8571428571586</c:v>
                </c:pt>
                <c:pt idx="221">
                  <c:v>3053.1428571428492</c:v>
                </c:pt>
                <c:pt idx="222">
                  <c:v>3053.1428571428492</c:v>
                </c:pt>
                <c:pt idx="223">
                  <c:v>3053.1428571428492</c:v>
                </c:pt>
                <c:pt idx="224">
                  <c:v>3053.1428571428492</c:v>
                </c:pt>
                <c:pt idx="225">
                  <c:v>3053.1428571428492</c:v>
                </c:pt>
                <c:pt idx="226">
                  <c:v>3053.1428571428492</c:v>
                </c:pt>
                <c:pt idx="227">
                  <c:v>3053.1428571428492</c:v>
                </c:pt>
                <c:pt idx="228">
                  <c:v>3023.1428571428555</c:v>
                </c:pt>
                <c:pt idx="229">
                  <c:v>3023.1428571428555</c:v>
                </c:pt>
                <c:pt idx="230">
                  <c:v>3023.1428571428555</c:v>
                </c:pt>
                <c:pt idx="231">
                  <c:v>3023.1428571428555</c:v>
                </c:pt>
                <c:pt idx="232">
                  <c:v>3023.1428571428555</c:v>
                </c:pt>
                <c:pt idx="233">
                  <c:v>3023.1428571428555</c:v>
                </c:pt>
                <c:pt idx="234">
                  <c:v>3023.1428571428555</c:v>
                </c:pt>
                <c:pt idx="235">
                  <c:v>3018.0000000000005</c:v>
                </c:pt>
                <c:pt idx="236">
                  <c:v>3018.0000000000005</c:v>
                </c:pt>
                <c:pt idx="237">
                  <c:v>3018.0000000000005</c:v>
                </c:pt>
                <c:pt idx="238">
                  <c:v>3018.0000000000005</c:v>
                </c:pt>
                <c:pt idx="239">
                  <c:v>3018.0000000000005</c:v>
                </c:pt>
                <c:pt idx="240">
                  <c:v>3018.0000000000005</c:v>
                </c:pt>
                <c:pt idx="241">
                  <c:v>3018.0000000000005</c:v>
                </c:pt>
                <c:pt idx="242">
                  <c:v>3024.2857142857124</c:v>
                </c:pt>
                <c:pt idx="243">
                  <c:v>3024.2857142857124</c:v>
                </c:pt>
                <c:pt idx="244">
                  <c:v>3024.2857142857124</c:v>
                </c:pt>
                <c:pt idx="245">
                  <c:v>3024.2857142857124</c:v>
                </c:pt>
                <c:pt idx="246">
                  <c:v>3024.2857142857124</c:v>
                </c:pt>
                <c:pt idx="247">
                  <c:v>3024.2857142857124</c:v>
                </c:pt>
                <c:pt idx="248">
                  <c:v>3024.2857142857124</c:v>
                </c:pt>
                <c:pt idx="249">
                  <c:v>3042.0000000000036</c:v>
                </c:pt>
                <c:pt idx="250">
                  <c:v>3042.0000000000036</c:v>
                </c:pt>
                <c:pt idx="251">
                  <c:v>3042.0000000000036</c:v>
                </c:pt>
                <c:pt idx="252">
                  <c:v>3042.0000000000036</c:v>
                </c:pt>
                <c:pt idx="253">
                  <c:v>3042.0000000000036</c:v>
                </c:pt>
                <c:pt idx="254">
                  <c:v>3042.0000000000036</c:v>
                </c:pt>
                <c:pt idx="255">
                  <c:v>3042.0000000000036</c:v>
                </c:pt>
                <c:pt idx="256">
                  <c:v>2928.1428571428464</c:v>
                </c:pt>
                <c:pt idx="257">
                  <c:v>2928.1428571428464</c:v>
                </c:pt>
                <c:pt idx="258">
                  <c:v>2928.1428571428464</c:v>
                </c:pt>
                <c:pt idx="259">
                  <c:v>2928.1428571428464</c:v>
                </c:pt>
                <c:pt idx="260">
                  <c:v>2928.1428571428464</c:v>
                </c:pt>
                <c:pt idx="261">
                  <c:v>2928.1428571428464</c:v>
                </c:pt>
                <c:pt idx="262">
                  <c:v>2928.1428571428464</c:v>
                </c:pt>
                <c:pt idx="263">
                  <c:v>3038.4285714285684</c:v>
                </c:pt>
                <c:pt idx="264">
                  <c:v>3038.4285714285684</c:v>
                </c:pt>
                <c:pt idx="265">
                  <c:v>3038.4285714285684</c:v>
                </c:pt>
                <c:pt idx="266">
                  <c:v>3038.4285714285684</c:v>
                </c:pt>
                <c:pt idx="267">
                  <c:v>3038.4285714285684</c:v>
                </c:pt>
                <c:pt idx="268">
                  <c:v>3038.4285714285684</c:v>
                </c:pt>
                <c:pt idx="269">
                  <c:v>3038.4285714285684</c:v>
                </c:pt>
                <c:pt idx="270">
                  <c:v>3026.5714285714312</c:v>
                </c:pt>
                <c:pt idx="271">
                  <c:v>3026.5714285714312</c:v>
                </c:pt>
                <c:pt idx="272">
                  <c:v>3026.5714285714312</c:v>
                </c:pt>
                <c:pt idx="273">
                  <c:v>3026.5714285714312</c:v>
                </c:pt>
                <c:pt idx="274">
                  <c:v>3026.5714285714312</c:v>
                </c:pt>
                <c:pt idx="275">
                  <c:v>3026.5714285714312</c:v>
                </c:pt>
                <c:pt idx="276">
                  <c:v>3026.5714285714312</c:v>
                </c:pt>
                <c:pt idx="277">
                  <c:v>3011.1428571428523</c:v>
                </c:pt>
                <c:pt idx="278">
                  <c:v>3011.1428571428523</c:v>
                </c:pt>
                <c:pt idx="279">
                  <c:v>3011.1428571428523</c:v>
                </c:pt>
                <c:pt idx="280">
                  <c:v>3011.1428571428523</c:v>
                </c:pt>
                <c:pt idx="281">
                  <c:v>3011.1428571428523</c:v>
                </c:pt>
                <c:pt idx="282">
                  <c:v>3011.1428571428523</c:v>
                </c:pt>
                <c:pt idx="283">
                  <c:v>3011.1428571428523</c:v>
                </c:pt>
                <c:pt idx="284">
                  <c:v>2941.8571428571499</c:v>
                </c:pt>
                <c:pt idx="285">
                  <c:v>2941.8571428571499</c:v>
                </c:pt>
                <c:pt idx="286">
                  <c:v>2941.8571428571499</c:v>
                </c:pt>
                <c:pt idx="287">
                  <c:v>2941.8571428571499</c:v>
                </c:pt>
                <c:pt idx="288">
                  <c:v>2941.8571428571499</c:v>
                </c:pt>
                <c:pt idx="289">
                  <c:v>2941.8571428571499</c:v>
                </c:pt>
                <c:pt idx="290">
                  <c:v>2941.8571428571499</c:v>
                </c:pt>
                <c:pt idx="291">
                  <c:v>2630.5714285714262</c:v>
                </c:pt>
                <c:pt idx="292">
                  <c:v>2630.5714285714262</c:v>
                </c:pt>
                <c:pt idx="293">
                  <c:v>2630.5714285714262</c:v>
                </c:pt>
                <c:pt idx="294">
                  <c:v>2630.5714285714262</c:v>
                </c:pt>
                <c:pt idx="295">
                  <c:v>2630.5714285714262</c:v>
                </c:pt>
                <c:pt idx="296">
                  <c:v>2630.5714285714262</c:v>
                </c:pt>
                <c:pt idx="297">
                  <c:v>2630.5714285714262</c:v>
                </c:pt>
                <c:pt idx="298">
                  <c:v>2319.2857142857074</c:v>
                </c:pt>
                <c:pt idx="299">
                  <c:v>2319.2857142857074</c:v>
                </c:pt>
                <c:pt idx="300">
                  <c:v>2319.2857142857074</c:v>
                </c:pt>
                <c:pt idx="301">
                  <c:v>2319.2857142857074</c:v>
                </c:pt>
                <c:pt idx="302">
                  <c:v>2319.2857142857074</c:v>
                </c:pt>
                <c:pt idx="303">
                  <c:v>2319.2857142857074</c:v>
                </c:pt>
                <c:pt idx="304">
                  <c:v>2319.2857142857074</c:v>
                </c:pt>
                <c:pt idx="305">
                  <c:v>2319.2857142857074</c:v>
                </c:pt>
                <c:pt idx="306">
                  <c:v>2608.0000000000105</c:v>
                </c:pt>
                <c:pt idx="307">
                  <c:v>2608.0000000000105</c:v>
                </c:pt>
                <c:pt idx="308">
                  <c:v>2608.0000000000105</c:v>
                </c:pt>
                <c:pt idx="309">
                  <c:v>2608.0000000000105</c:v>
                </c:pt>
                <c:pt idx="310">
                  <c:v>2608.0000000000105</c:v>
                </c:pt>
                <c:pt idx="311">
                  <c:v>2608.0000000000105</c:v>
                </c:pt>
                <c:pt idx="312">
                  <c:v>2608.0000000000105</c:v>
                </c:pt>
                <c:pt idx="313">
                  <c:v>3044.1428571428696</c:v>
                </c:pt>
                <c:pt idx="314">
                  <c:v>3044.1428571428696</c:v>
                </c:pt>
                <c:pt idx="315">
                  <c:v>3044.1428571428696</c:v>
                </c:pt>
                <c:pt idx="316">
                  <c:v>3044.1428571428696</c:v>
                </c:pt>
                <c:pt idx="317">
                  <c:v>3044.1428571428696</c:v>
                </c:pt>
                <c:pt idx="318">
                  <c:v>3044.1428571428696</c:v>
                </c:pt>
                <c:pt idx="319">
                  <c:v>3044.1428571428696</c:v>
                </c:pt>
                <c:pt idx="320">
                  <c:v>3112.4285714285711</c:v>
                </c:pt>
                <c:pt idx="321">
                  <c:v>3112.4285714285711</c:v>
                </c:pt>
                <c:pt idx="322">
                  <c:v>3112.4285714285711</c:v>
                </c:pt>
                <c:pt idx="323">
                  <c:v>3112.4285714285711</c:v>
                </c:pt>
                <c:pt idx="324">
                  <c:v>3112.4285714285711</c:v>
                </c:pt>
                <c:pt idx="325">
                  <c:v>3112.4285714285711</c:v>
                </c:pt>
                <c:pt idx="326">
                  <c:v>3112.4285714285711</c:v>
                </c:pt>
                <c:pt idx="327">
                  <c:v>3143.0000000000014</c:v>
                </c:pt>
                <c:pt idx="328">
                  <c:v>3143.0000000000014</c:v>
                </c:pt>
                <c:pt idx="329">
                  <c:v>3143.0000000000014</c:v>
                </c:pt>
                <c:pt idx="330">
                  <c:v>3143.0000000000014</c:v>
                </c:pt>
                <c:pt idx="331">
                  <c:v>3143.0000000000014</c:v>
                </c:pt>
                <c:pt idx="332">
                  <c:v>3143.0000000000014</c:v>
                </c:pt>
                <c:pt idx="333">
                  <c:v>3143.0000000000014</c:v>
                </c:pt>
                <c:pt idx="334">
                  <c:v>3108.428571428557</c:v>
                </c:pt>
                <c:pt idx="335">
                  <c:v>3108.428571428557</c:v>
                </c:pt>
                <c:pt idx="336">
                  <c:v>3108.428571428557</c:v>
                </c:pt>
                <c:pt idx="337">
                  <c:v>3108.428571428557</c:v>
                </c:pt>
                <c:pt idx="338">
                  <c:v>3108.428571428557</c:v>
                </c:pt>
                <c:pt idx="339">
                  <c:v>3108.428571428557</c:v>
                </c:pt>
                <c:pt idx="340">
                  <c:v>3108.428571428557</c:v>
                </c:pt>
                <c:pt idx="341">
                  <c:v>3121.8571428571518</c:v>
                </c:pt>
                <c:pt idx="342">
                  <c:v>3121.8571428571518</c:v>
                </c:pt>
                <c:pt idx="343">
                  <c:v>3121.8571428571518</c:v>
                </c:pt>
                <c:pt idx="344">
                  <c:v>3121.8571428571518</c:v>
                </c:pt>
                <c:pt idx="345">
                  <c:v>3121.8571428571518</c:v>
                </c:pt>
                <c:pt idx="346">
                  <c:v>3121.8571428571518</c:v>
                </c:pt>
                <c:pt idx="347">
                  <c:v>3121.8571428571518</c:v>
                </c:pt>
                <c:pt idx="348">
                  <c:v>3109.9999999999986</c:v>
                </c:pt>
                <c:pt idx="349">
                  <c:v>3109.9999999999986</c:v>
                </c:pt>
                <c:pt idx="350">
                  <c:v>3109.9999999999986</c:v>
                </c:pt>
                <c:pt idx="351">
                  <c:v>3109.9999999999986</c:v>
                </c:pt>
                <c:pt idx="352">
                  <c:v>3109.9999999999986</c:v>
                </c:pt>
                <c:pt idx="353">
                  <c:v>3109.9999999999986</c:v>
                </c:pt>
                <c:pt idx="354">
                  <c:v>3109.9999999999986</c:v>
                </c:pt>
                <c:pt idx="355">
                  <c:v>3101.428571428572</c:v>
                </c:pt>
                <c:pt idx="356">
                  <c:v>3101.428571428572</c:v>
                </c:pt>
                <c:pt idx="357">
                  <c:v>3101.428571428572</c:v>
                </c:pt>
                <c:pt idx="358">
                  <c:v>3101.428571428572</c:v>
                </c:pt>
                <c:pt idx="359">
                  <c:v>3101.428571428572</c:v>
                </c:pt>
                <c:pt idx="360">
                  <c:v>3101.428571428572</c:v>
                </c:pt>
                <c:pt idx="361">
                  <c:v>3101.428571428572</c:v>
                </c:pt>
                <c:pt idx="362">
                  <c:v>3126.714285714278</c:v>
                </c:pt>
                <c:pt idx="363">
                  <c:v>3126.714285714278</c:v>
                </c:pt>
                <c:pt idx="364">
                  <c:v>3126.714285714278</c:v>
                </c:pt>
                <c:pt idx="365">
                  <c:v>3126.714285714278</c:v>
                </c:pt>
                <c:pt idx="366">
                  <c:v>3126.714285714278</c:v>
                </c:pt>
                <c:pt idx="367">
                  <c:v>3126.714285714278</c:v>
                </c:pt>
                <c:pt idx="368">
                  <c:v>3126.714285714278</c:v>
                </c:pt>
                <c:pt idx="369">
                  <c:v>3092.1428571428637</c:v>
                </c:pt>
                <c:pt idx="370">
                  <c:v>3092.1428571428637</c:v>
                </c:pt>
                <c:pt idx="371">
                  <c:v>3092.1428571428637</c:v>
                </c:pt>
                <c:pt idx="372">
                  <c:v>3092.1428571428637</c:v>
                </c:pt>
                <c:pt idx="373">
                  <c:v>3092.1428571428637</c:v>
                </c:pt>
                <c:pt idx="374">
                  <c:v>3092.1428571428637</c:v>
                </c:pt>
                <c:pt idx="375">
                  <c:v>3092.1428571428637</c:v>
                </c:pt>
                <c:pt idx="376">
                  <c:v>3058.5714285714284</c:v>
                </c:pt>
                <c:pt idx="377">
                  <c:v>3058.5714285714284</c:v>
                </c:pt>
                <c:pt idx="378">
                  <c:v>3058.5714285714284</c:v>
                </c:pt>
                <c:pt idx="379">
                  <c:v>3058.5714285714284</c:v>
                </c:pt>
                <c:pt idx="380">
                  <c:v>3058.5714285714284</c:v>
                </c:pt>
                <c:pt idx="381">
                  <c:v>3058.5714285714284</c:v>
                </c:pt>
                <c:pt idx="382">
                  <c:v>3058.5714285714284</c:v>
                </c:pt>
                <c:pt idx="383">
                  <c:v>3078.5714285714121</c:v>
                </c:pt>
                <c:pt idx="384">
                  <c:v>3078.5714285714121</c:v>
                </c:pt>
                <c:pt idx="385">
                  <c:v>3078.5714285714121</c:v>
                </c:pt>
                <c:pt idx="386">
                  <c:v>3078.5714285714121</c:v>
                </c:pt>
                <c:pt idx="387">
                  <c:v>3078.5714285714121</c:v>
                </c:pt>
                <c:pt idx="388">
                  <c:v>3078.5714285714121</c:v>
                </c:pt>
                <c:pt idx="389">
                  <c:v>3078.5714285714121</c:v>
                </c:pt>
                <c:pt idx="390">
                  <c:v>2999.5714285714198</c:v>
                </c:pt>
                <c:pt idx="391">
                  <c:v>2999.5714285714198</c:v>
                </c:pt>
                <c:pt idx="392">
                  <c:v>2999.5714285714198</c:v>
                </c:pt>
                <c:pt idx="393">
                  <c:v>2999.5714285714198</c:v>
                </c:pt>
                <c:pt idx="394">
                  <c:v>2999.5714285714198</c:v>
                </c:pt>
                <c:pt idx="395">
                  <c:v>2999.5714285714198</c:v>
                </c:pt>
                <c:pt idx="396">
                  <c:v>2999.5714285714198</c:v>
                </c:pt>
                <c:pt idx="397">
                  <c:v>3043.7142857142858</c:v>
                </c:pt>
                <c:pt idx="398">
                  <c:v>3043.7142857142858</c:v>
                </c:pt>
                <c:pt idx="399">
                  <c:v>3043.7142857142858</c:v>
                </c:pt>
                <c:pt idx="400">
                  <c:v>3043.7142857142858</c:v>
                </c:pt>
                <c:pt idx="401">
                  <c:v>3043.7142857142858</c:v>
                </c:pt>
                <c:pt idx="402">
                  <c:v>3043.7142857142858</c:v>
                </c:pt>
                <c:pt idx="403">
                  <c:v>3043.7142857142858</c:v>
                </c:pt>
                <c:pt idx="404">
                  <c:v>3040.5714285714316</c:v>
                </c:pt>
                <c:pt idx="405">
                  <c:v>3040.5714285714316</c:v>
                </c:pt>
                <c:pt idx="406">
                  <c:v>3040.5714285714316</c:v>
                </c:pt>
                <c:pt idx="407">
                  <c:v>3040.5714285714316</c:v>
                </c:pt>
                <c:pt idx="408">
                  <c:v>3040.5714285714316</c:v>
                </c:pt>
                <c:pt idx="409">
                  <c:v>3040.5714285714316</c:v>
                </c:pt>
                <c:pt idx="410">
                  <c:v>3040.5714285714316</c:v>
                </c:pt>
                <c:pt idx="411">
                  <c:v>2899.2857142857169</c:v>
                </c:pt>
                <c:pt idx="412">
                  <c:v>2899.2857142857169</c:v>
                </c:pt>
                <c:pt idx="413">
                  <c:v>2899.2857142857169</c:v>
                </c:pt>
                <c:pt idx="414">
                  <c:v>2899.2857142857169</c:v>
                </c:pt>
                <c:pt idx="415">
                  <c:v>2899.2857142857169</c:v>
                </c:pt>
                <c:pt idx="416">
                  <c:v>2899.2857142857169</c:v>
                </c:pt>
                <c:pt idx="417">
                  <c:v>2899.2857142857169</c:v>
                </c:pt>
                <c:pt idx="418">
                  <c:v>3031.7142857142849</c:v>
                </c:pt>
                <c:pt idx="419">
                  <c:v>3031.7142857142849</c:v>
                </c:pt>
                <c:pt idx="420">
                  <c:v>3031.7142857142849</c:v>
                </c:pt>
                <c:pt idx="421">
                  <c:v>3031.7142857142849</c:v>
                </c:pt>
                <c:pt idx="422">
                  <c:v>3031.7142857142849</c:v>
                </c:pt>
                <c:pt idx="423">
                  <c:v>3031.7142857142849</c:v>
                </c:pt>
                <c:pt idx="424">
                  <c:v>3031.7142857142849</c:v>
                </c:pt>
                <c:pt idx="425">
                  <c:v>2964.5714285714271</c:v>
                </c:pt>
                <c:pt idx="426">
                  <c:v>2964.5714285714271</c:v>
                </c:pt>
                <c:pt idx="427">
                  <c:v>2964.5714285714271</c:v>
                </c:pt>
                <c:pt idx="428">
                  <c:v>2964.5714285714271</c:v>
                </c:pt>
                <c:pt idx="429">
                  <c:v>2964.5714285714271</c:v>
                </c:pt>
                <c:pt idx="430">
                  <c:v>2964.5714285714271</c:v>
                </c:pt>
                <c:pt idx="431">
                  <c:v>2964.5714285714271</c:v>
                </c:pt>
                <c:pt idx="432">
                  <c:v>2919.8571428571463</c:v>
                </c:pt>
                <c:pt idx="433">
                  <c:v>2919.8571428571463</c:v>
                </c:pt>
                <c:pt idx="434">
                  <c:v>2919.8571428571463</c:v>
                </c:pt>
                <c:pt idx="435">
                  <c:v>2919.8571428571463</c:v>
                </c:pt>
                <c:pt idx="436">
                  <c:v>2919.8571428571463</c:v>
                </c:pt>
                <c:pt idx="437">
                  <c:v>2919.8571428571463</c:v>
                </c:pt>
                <c:pt idx="438">
                  <c:v>2919.8571428571463</c:v>
                </c:pt>
                <c:pt idx="439">
                  <c:v>2964.571428571438</c:v>
                </c:pt>
                <c:pt idx="440">
                  <c:v>2964.571428571438</c:v>
                </c:pt>
                <c:pt idx="441">
                  <c:v>2964.571428571438</c:v>
                </c:pt>
                <c:pt idx="442">
                  <c:v>2964.571428571438</c:v>
                </c:pt>
                <c:pt idx="443">
                  <c:v>2964.571428571438</c:v>
                </c:pt>
                <c:pt idx="444">
                  <c:v>2964.571428571438</c:v>
                </c:pt>
                <c:pt idx="445">
                  <c:v>2964.571428571438</c:v>
                </c:pt>
                <c:pt idx="446">
                  <c:v>3004.857142857144</c:v>
                </c:pt>
                <c:pt idx="447">
                  <c:v>3004.857142857144</c:v>
                </c:pt>
                <c:pt idx="448">
                  <c:v>3004.857142857144</c:v>
                </c:pt>
                <c:pt idx="449">
                  <c:v>3004.857142857144</c:v>
                </c:pt>
                <c:pt idx="450">
                  <c:v>3004.857142857144</c:v>
                </c:pt>
                <c:pt idx="451">
                  <c:v>3004.857142857144</c:v>
                </c:pt>
                <c:pt idx="452">
                  <c:v>3004.857142857144</c:v>
                </c:pt>
                <c:pt idx="453">
                  <c:v>3032.4285714285761</c:v>
                </c:pt>
                <c:pt idx="454">
                  <c:v>3032.4285714285761</c:v>
                </c:pt>
                <c:pt idx="455">
                  <c:v>3032.4285714285761</c:v>
                </c:pt>
                <c:pt idx="456">
                  <c:v>3032.4285714285761</c:v>
                </c:pt>
                <c:pt idx="457">
                  <c:v>3032.4285714285761</c:v>
                </c:pt>
                <c:pt idx="458">
                  <c:v>3032.4285714285761</c:v>
                </c:pt>
                <c:pt idx="459">
                  <c:v>3032.4285714285761</c:v>
                </c:pt>
                <c:pt idx="460">
                  <c:v>3011.1428571428573</c:v>
                </c:pt>
                <c:pt idx="461">
                  <c:v>3011.1428571428573</c:v>
                </c:pt>
                <c:pt idx="462">
                  <c:v>3011.1428571428573</c:v>
                </c:pt>
                <c:pt idx="463">
                  <c:v>3011.1428571428573</c:v>
                </c:pt>
                <c:pt idx="464">
                  <c:v>3011.1428571428573</c:v>
                </c:pt>
                <c:pt idx="465">
                  <c:v>3011.1428571428573</c:v>
                </c:pt>
                <c:pt idx="466">
                  <c:v>3011.1428571428573</c:v>
                </c:pt>
                <c:pt idx="467">
                  <c:v>3013.1428571428428</c:v>
                </c:pt>
                <c:pt idx="468">
                  <c:v>3013.1428571428428</c:v>
                </c:pt>
                <c:pt idx="469">
                  <c:v>3013.1428571428428</c:v>
                </c:pt>
                <c:pt idx="470">
                  <c:v>3013.1428571428428</c:v>
                </c:pt>
                <c:pt idx="471">
                  <c:v>3013.1428571428428</c:v>
                </c:pt>
                <c:pt idx="472">
                  <c:v>3013.1428571428428</c:v>
                </c:pt>
                <c:pt idx="473">
                  <c:v>3013.1428571428428</c:v>
                </c:pt>
                <c:pt idx="474">
                  <c:v>2997.7142857142903</c:v>
                </c:pt>
                <c:pt idx="475">
                  <c:v>2997.7142857142903</c:v>
                </c:pt>
                <c:pt idx="476">
                  <c:v>2997.7142857142903</c:v>
                </c:pt>
                <c:pt idx="477">
                  <c:v>2997.7142857142903</c:v>
                </c:pt>
                <c:pt idx="478">
                  <c:v>2997.7142857142903</c:v>
                </c:pt>
                <c:pt idx="479">
                  <c:v>2997.7142857142903</c:v>
                </c:pt>
                <c:pt idx="480">
                  <c:v>2997.7142857142903</c:v>
                </c:pt>
                <c:pt idx="481">
                  <c:v>2930.2857142857138</c:v>
                </c:pt>
                <c:pt idx="482">
                  <c:v>2930.2857142857138</c:v>
                </c:pt>
                <c:pt idx="483">
                  <c:v>2930.2857142857138</c:v>
                </c:pt>
                <c:pt idx="484">
                  <c:v>2930.2857142857138</c:v>
                </c:pt>
                <c:pt idx="485">
                  <c:v>2930.2857142857138</c:v>
                </c:pt>
                <c:pt idx="486">
                  <c:v>2930.2857142857138</c:v>
                </c:pt>
                <c:pt idx="487">
                  <c:v>2930.2857142857138</c:v>
                </c:pt>
                <c:pt idx="488">
                  <c:v>2547.142857142861</c:v>
                </c:pt>
                <c:pt idx="489">
                  <c:v>2547.142857142861</c:v>
                </c:pt>
                <c:pt idx="490">
                  <c:v>2547.142857142861</c:v>
                </c:pt>
                <c:pt idx="491">
                  <c:v>2547.142857142861</c:v>
                </c:pt>
                <c:pt idx="492">
                  <c:v>2547.142857142861</c:v>
                </c:pt>
                <c:pt idx="493">
                  <c:v>2547.142857142861</c:v>
                </c:pt>
                <c:pt idx="494">
                  <c:v>2547.142857142861</c:v>
                </c:pt>
                <c:pt idx="495">
                  <c:v>2612.0000000000132</c:v>
                </c:pt>
                <c:pt idx="496">
                  <c:v>2612.0000000000132</c:v>
                </c:pt>
                <c:pt idx="497">
                  <c:v>2612.0000000000132</c:v>
                </c:pt>
                <c:pt idx="498">
                  <c:v>2612.0000000000132</c:v>
                </c:pt>
                <c:pt idx="499">
                  <c:v>2612.0000000000132</c:v>
                </c:pt>
                <c:pt idx="500">
                  <c:v>2612.0000000000132</c:v>
                </c:pt>
                <c:pt idx="501">
                  <c:v>2612.0000000000132</c:v>
                </c:pt>
                <c:pt idx="502">
                  <c:v>2600.4285714285879</c:v>
                </c:pt>
                <c:pt idx="503">
                  <c:v>2600.4285714285879</c:v>
                </c:pt>
                <c:pt idx="504">
                  <c:v>2600.4285714285879</c:v>
                </c:pt>
                <c:pt idx="505">
                  <c:v>2600.4285714285879</c:v>
                </c:pt>
                <c:pt idx="506">
                  <c:v>2600.4285714285879</c:v>
                </c:pt>
                <c:pt idx="507">
                  <c:v>2600.4285714285879</c:v>
                </c:pt>
                <c:pt idx="508">
                  <c:v>2600.4285714285879</c:v>
                </c:pt>
                <c:pt idx="509">
                  <c:v>2579.1428571428487</c:v>
                </c:pt>
                <c:pt idx="510">
                  <c:v>2579.1428571428487</c:v>
                </c:pt>
                <c:pt idx="511">
                  <c:v>2579.1428571428487</c:v>
                </c:pt>
                <c:pt idx="512">
                  <c:v>2579.1428571428487</c:v>
                </c:pt>
                <c:pt idx="513">
                  <c:v>2579.1428571428487</c:v>
                </c:pt>
                <c:pt idx="514">
                  <c:v>2579.1428571428487</c:v>
                </c:pt>
                <c:pt idx="515">
                  <c:v>2579.1428571428487</c:v>
                </c:pt>
                <c:pt idx="516">
                  <c:v>2534.1428571428505</c:v>
                </c:pt>
                <c:pt idx="517">
                  <c:v>2534.1428571428505</c:v>
                </c:pt>
                <c:pt idx="518">
                  <c:v>2534.1428571428505</c:v>
                </c:pt>
                <c:pt idx="519">
                  <c:v>2534.1428571428505</c:v>
                </c:pt>
                <c:pt idx="520">
                  <c:v>2534.1428571428505</c:v>
                </c:pt>
                <c:pt idx="521">
                  <c:v>2534.1428571428505</c:v>
                </c:pt>
                <c:pt idx="522">
                  <c:v>2534.1428571428505</c:v>
                </c:pt>
                <c:pt idx="523">
                  <c:v>2550.9999999999905</c:v>
                </c:pt>
                <c:pt idx="524">
                  <c:v>2550.9999999999905</c:v>
                </c:pt>
                <c:pt idx="525">
                  <c:v>2550.9999999999905</c:v>
                </c:pt>
                <c:pt idx="526">
                  <c:v>2550.9999999999905</c:v>
                </c:pt>
                <c:pt idx="527">
                  <c:v>2550.9999999999905</c:v>
                </c:pt>
                <c:pt idx="528">
                  <c:v>2550.9999999999905</c:v>
                </c:pt>
                <c:pt idx="529">
                  <c:v>2550.9999999999905</c:v>
                </c:pt>
                <c:pt idx="530">
                  <c:v>2614.0000000000005</c:v>
                </c:pt>
                <c:pt idx="531">
                  <c:v>2614.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57-4E39-B9F0-0DC494C0044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3</c:v>
                </c:pt>
              </c:strCache>
            </c:strRef>
          </c:tx>
          <c:spPr>
            <a:ln w="952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E$2:$E$533</c:f>
              <c:numCache>
                <c:formatCode>General</c:formatCode>
                <c:ptCount val="532"/>
                <c:pt idx="0">
                  <c:v>3380.5714285714262</c:v>
                </c:pt>
                <c:pt idx="1">
                  <c:v>3380.5714285714262</c:v>
                </c:pt>
                <c:pt idx="2">
                  <c:v>3380.5714285714262</c:v>
                </c:pt>
                <c:pt idx="3">
                  <c:v>3380.5714285714262</c:v>
                </c:pt>
                <c:pt idx="4">
                  <c:v>3279.8571428571267</c:v>
                </c:pt>
                <c:pt idx="5">
                  <c:v>3279.8571428571267</c:v>
                </c:pt>
                <c:pt idx="6">
                  <c:v>3279.8571428571267</c:v>
                </c:pt>
                <c:pt idx="7">
                  <c:v>3279.8571428571267</c:v>
                </c:pt>
                <c:pt idx="8">
                  <c:v>3279.8571428571267</c:v>
                </c:pt>
                <c:pt idx="9">
                  <c:v>3279.8571428571267</c:v>
                </c:pt>
                <c:pt idx="10">
                  <c:v>3279.8571428571267</c:v>
                </c:pt>
                <c:pt idx="11">
                  <c:v>3280.9999999999905</c:v>
                </c:pt>
                <c:pt idx="12">
                  <c:v>3280.9999999999905</c:v>
                </c:pt>
                <c:pt idx="13">
                  <c:v>3280.9999999999905</c:v>
                </c:pt>
                <c:pt idx="14">
                  <c:v>3280.9999999999905</c:v>
                </c:pt>
                <c:pt idx="15">
                  <c:v>3280.9999999999905</c:v>
                </c:pt>
                <c:pt idx="16">
                  <c:v>3280.9999999999905</c:v>
                </c:pt>
                <c:pt idx="17">
                  <c:v>3280.9999999999905</c:v>
                </c:pt>
                <c:pt idx="18">
                  <c:v>3296.1428571428632</c:v>
                </c:pt>
                <c:pt idx="19">
                  <c:v>3296.1428571428632</c:v>
                </c:pt>
                <c:pt idx="20">
                  <c:v>3296.1428571428632</c:v>
                </c:pt>
                <c:pt idx="21">
                  <c:v>3296.1428571428632</c:v>
                </c:pt>
                <c:pt idx="22">
                  <c:v>3296.1428571428632</c:v>
                </c:pt>
                <c:pt idx="23">
                  <c:v>3296.1428571428632</c:v>
                </c:pt>
                <c:pt idx="24">
                  <c:v>3296.1428571428632</c:v>
                </c:pt>
                <c:pt idx="25">
                  <c:v>3400.1428571428632</c:v>
                </c:pt>
                <c:pt idx="26">
                  <c:v>3400.1428571428632</c:v>
                </c:pt>
                <c:pt idx="27">
                  <c:v>3400.1428571428632</c:v>
                </c:pt>
                <c:pt idx="28">
                  <c:v>3400.1428571428632</c:v>
                </c:pt>
                <c:pt idx="29">
                  <c:v>3400.1428571428632</c:v>
                </c:pt>
                <c:pt idx="30">
                  <c:v>3400.1428571428632</c:v>
                </c:pt>
                <c:pt idx="31">
                  <c:v>3400.1428571428632</c:v>
                </c:pt>
                <c:pt idx="32">
                  <c:v>3270.285714285716</c:v>
                </c:pt>
                <c:pt idx="33">
                  <c:v>3270.285714285716</c:v>
                </c:pt>
                <c:pt idx="34">
                  <c:v>3270.285714285716</c:v>
                </c:pt>
                <c:pt idx="35">
                  <c:v>3270.285714285716</c:v>
                </c:pt>
                <c:pt idx="36">
                  <c:v>3270.285714285716</c:v>
                </c:pt>
                <c:pt idx="37">
                  <c:v>3270.285714285716</c:v>
                </c:pt>
                <c:pt idx="38">
                  <c:v>3270.285714285716</c:v>
                </c:pt>
                <c:pt idx="39">
                  <c:v>3285.9999999999932</c:v>
                </c:pt>
                <c:pt idx="40">
                  <c:v>3285.9999999999932</c:v>
                </c:pt>
                <c:pt idx="41">
                  <c:v>3285.9999999999932</c:v>
                </c:pt>
                <c:pt idx="42">
                  <c:v>3285.9999999999932</c:v>
                </c:pt>
                <c:pt idx="43">
                  <c:v>3285.9999999999932</c:v>
                </c:pt>
                <c:pt idx="44">
                  <c:v>3285.9999999999932</c:v>
                </c:pt>
                <c:pt idx="45">
                  <c:v>3285.9999999999932</c:v>
                </c:pt>
                <c:pt idx="46">
                  <c:v>3270.2857142857206</c:v>
                </c:pt>
                <c:pt idx="47">
                  <c:v>3270.2857142857206</c:v>
                </c:pt>
                <c:pt idx="48">
                  <c:v>3270.2857142857206</c:v>
                </c:pt>
                <c:pt idx="49">
                  <c:v>3270.2857142857206</c:v>
                </c:pt>
                <c:pt idx="50">
                  <c:v>3270.2857142857206</c:v>
                </c:pt>
                <c:pt idx="51">
                  <c:v>3270.2857142857206</c:v>
                </c:pt>
                <c:pt idx="52">
                  <c:v>3270.2857142857206</c:v>
                </c:pt>
                <c:pt idx="53">
                  <c:v>3248.8571428571368</c:v>
                </c:pt>
                <c:pt idx="54">
                  <c:v>3248.8571428571368</c:v>
                </c:pt>
                <c:pt idx="55">
                  <c:v>3248.8571428571368</c:v>
                </c:pt>
                <c:pt idx="56">
                  <c:v>3248.8571428571368</c:v>
                </c:pt>
                <c:pt idx="57">
                  <c:v>3248.8571428571368</c:v>
                </c:pt>
                <c:pt idx="58">
                  <c:v>3248.8571428571368</c:v>
                </c:pt>
                <c:pt idx="59">
                  <c:v>3248.8571428571368</c:v>
                </c:pt>
                <c:pt idx="60">
                  <c:v>3282.7142857142971</c:v>
                </c:pt>
                <c:pt idx="61">
                  <c:v>3282.7142857142971</c:v>
                </c:pt>
                <c:pt idx="62">
                  <c:v>3282.7142857142971</c:v>
                </c:pt>
                <c:pt idx="63">
                  <c:v>3282.7142857142971</c:v>
                </c:pt>
                <c:pt idx="64">
                  <c:v>3282.7142857142971</c:v>
                </c:pt>
                <c:pt idx="65">
                  <c:v>3282.7142857142971</c:v>
                </c:pt>
                <c:pt idx="66">
                  <c:v>3282.7142857142971</c:v>
                </c:pt>
                <c:pt idx="67">
                  <c:v>3160.1428571428596</c:v>
                </c:pt>
                <c:pt idx="68">
                  <c:v>3160.1428571428596</c:v>
                </c:pt>
                <c:pt idx="69">
                  <c:v>3160.1428571428596</c:v>
                </c:pt>
                <c:pt idx="70">
                  <c:v>3160.1428571428596</c:v>
                </c:pt>
                <c:pt idx="71">
                  <c:v>3160.1428571428596</c:v>
                </c:pt>
                <c:pt idx="72">
                  <c:v>3160.1428571428596</c:v>
                </c:pt>
                <c:pt idx="73">
                  <c:v>3160.1428571428596</c:v>
                </c:pt>
                <c:pt idx="74">
                  <c:v>3239.1428571428614</c:v>
                </c:pt>
                <c:pt idx="75">
                  <c:v>3239.1428571428614</c:v>
                </c:pt>
                <c:pt idx="76">
                  <c:v>3239.1428571428614</c:v>
                </c:pt>
                <c:pt idx="77">
                  <c:v>3239.1428571428614</c:v>
                </c:pt>
                <c:pt idx="78">
                  <c:v>3239.1428571428614</c:v>
                </c:pt>
                <c:pt idx="79">
                  <c:v>3239.1428571428614</c:v>
                </c:pt>
                <c:pt idx="80">
                  <c:v>3239.1428571428614</c:v>
                </c:pt>
                <c:pt idx="81">
                  <c:v>3166.0000000000064</c:v>
                </c:pt>
                <c:pt idx="82">
                  <c:v>3166.0000000000064</c:v>
                </c:pt>
                <c:pt idx="83">
                  <c:v>3166.0000000000064</c:v>
                </c:pt>
                <c:pt idx="84">
                  <c:v>3166.0000000000064</c:v>
                </c:pt>
                <c:pt idx="85">
                  <c:v>3166.0000000000064</c:v>
                </c:pt>
                <c:pt idx="86">
                  <c:v>3166.0000000000064</c:v>
                </c:pt>
                <c:pt idx="87">
                  <c:v>3166.0000000000064</c:v>
                </c:pt>
                <c:pt idx="88">
                  <c:v>3219.285714285732</c:v>
                </c:pt>
                <c:pt idx="89">
                  <c:v>3219.285714285732</c:v>
                </c:pt>
                <c:pt idx="90">
                  <c:v>3219.285714285732</c:v>
                </c:pt>
                <c:pt idx="91">
                  <c:v>3219.285714285732</c:v>
                </c:pt>
                <c:pt idx="92">
                  <c:v>3219.285714285732</c:v>
                </c:pt>
                <c:pt idx="93">
                  <c:v>3219.285714285732</c:v>
                </c:pt>
                <c:pt idx="94">
                  <c:v>3219.285714285732</c:v>
                </c:pt>
                <c:pt idx="95">
                  <c:v>3137.8571428571349</c:v>
                </c:pt>
                <c:pt idx="96">
                  <c:v>3137.8571428571349</c:v>
                </c:pt>
                <c:pt idx="97">
                  <c:v>3137.8571428571349</c:v>
                </c:pt>
                <c:pt idx="98">
                  <c:v>3137.8571428571349</c:v>
                </c:pt>
                <c:pt idx="99">
                  <c:v>3137.8571428571349</c:v>
                </c:pt>
                <c:pt idx="100">
                  <c:v>3137.8571428571349</c:v>
                </c:pt>
                <c:pt idx="101">
                  <c:v>3137.8571428571349</c:v>
                </c:pt>
                <c:pt idx="102">
                  <c:v>3165.285714285706</c:v>
                </c:pt>
                <c:pt idx="103">
                  <c:v>3165.285714285706</c:v>
                </c:pt>
                <c:pt idx="104">
                  <c:v>3165.285714285706</c:v>
                </c:pt>
                <c:pt idx="105">
                  <c:v>3165.285714285706</c:v>
                </c:pt>
                <c:pt idx="106">
                  <c:v>3165.285714285706</c:v>
                </c:pt>
                <c:pt idx="107">
                  <c:v>3165.285714285706</c:v>
                </c:pt>
                <c:pt idx="108">
                  <c:v>3165.285714285706</c:v>
                </c:pt>
                <c:pt idx="109">
                  <c:v>3176.00000000001</c:v>
                </c:pt>
                <c:pt idx="110">
                  <c:v>3176.00000000001</c:v>
                </c:pt>
                <c:pt idx="111">
                  <c:v>3176.00000000001</c:v>
                </c:pt>
                <c:pt idx="112">
                  <c:v>3176.00000000001</c:v>
                </c:pt>
                <c:pt idx="113">
                  <c:v>3176.00000000001</c:v>
                </c:pt>
                <c:pt idx="114">
                  <c:v>3176.00000000001</c:v>
                </c:pt>
                <c:pt idx="115">
                  <c:v>3176.00000000001</c:v>
                </c:pt>
                <c:pt idx="116">
                  <c:v>3231.1428571428651</c:v>
                </c:pt>
                <c:pt idx="117">
                  <c:v>3231.1428571428651</c:v>
                </c:pt>
                <c:pt idx="118">
                  <c:v>3231.1428571428651</c:v>
                </c:pt>
                <c:pt idx="119">
                  <c:v>3231.1428571428651</c:v>
                </c:pt>
                <c:pt idx="120">
                  <c:v>3231.1428571428651</c:v>
                </c:pt>
                <c:pt idx="121">
                  <c:v>3231.1428571428651</c:v>
                </c:pt>
                <c:pt idx="122">
                  <c:v>3231.1428571428651</c:v>
                </c:pt>
                <c:pt idx="123">
                  <c:v>2812.2857142856992</c:v>
                </c:pt>
                <c:pt idx="124">
                  <c:v>2812.2857142856992</c:v>
                </c:pt>
                <c:pt idx="125">
                  <c:v>2812.2857142856992</c:v>
                </c:pt>
                <c:pt idx="126">
                  <c:v>2812.2857142856992</c:v>
                </c:pt>
                <c:pt idx="127">
                  <c:v>2812.2857142856992</c:v>
                </c:pt>
                <c:pt idx="128">
                  <c:v>2812.2857142856992</c:v>
                </c:pt>
                <c:pt idx="129">
                  <c:v>2812.2857142856992</c:v>
                </c:pt>
                <c:pt idx="130">
                  <c:v>2912.4285714285757</c:v>
                </c:pt>
                <c:pt idx="131">
                  <c:v>2912.4285714285757</c:v>
                </c:pt>
                <c:pt idx="132">
                  <c:v>2912.4285714285757</c:v>
                </c:pt>
                <c:pt idx="133">
                  <c:v>2912.4285714285757</c:v>
                </c:pt>
                <c:pt idx="134">
                  <c:v>2912.4285714285757</c:v>
                </c:pt>
                <c:pt idx="135">
                  <c:v>2912.4285714285757</c:v>
                </c:pt>
                <c:pt idx="136">
                  <c:v>2912.4285714285757</c:v>
                </c:pt>
                <c:pt idx="137">
                  <c:v>2888.1428571428542</c:v>
                </c:pt>
                <c:pt idx="138">
                  <c:v>2888.1428571428542</c:v>
                </c:pt>
                <c:pt idx="139">
                  <c:v>2888.1428571428542</c:v>
                </c:pt>
                <c:pt idx="140">
                  <c:v>2888.1428571428542</c:v>
                </c:pt>
                <c:pt idx="141">
                  <c:v>2888.1428571428542</c:v>
                </c:pt>
                <c:pt idx="142">
                  <c:v>2888.1428571428542</c:v>
                </c:pt>
                <c:pt idx="143">
                  <c:v>2888.1428571428542</c:v>
                </c:pt>
                <c:pt idx="144">
                  <c:v>2844.8571428571331</c:v>
                </c:pt>
                <c:pt idx="145">
                  <c:v>2844.8571428571331</c:v>
                </c:pt>
                <c:pt idx="146">
                  <c:v>2844.8571428571331</c:v>
                </c:pt>
                <c:pt idx="147">
                  <c:v>2844.8571428571331</c:v>
                </c:pt>
                <c:pt idx="148">
                  <c:v>2844.8571428571331</c:v>
                </c:pt>
                <c:pt idx="149">
                  <c:v>2844.8571428571331</c:v>
                </c:pt>
                <c:pt idx="150">
                  <c:v>2844.8571428571331</c:v>
                </c:pt>
                <c:pt idx="151">
                  <c:v>2773.5714285714371</c:v>
                </c:pt>
                <c:pt idx="152">
                  <c:v>2773.5714285714371</c:v>
                </c:pt>
                <c:pt idx="153">
                  <c:v>2773.5714285714371</c:v>
                </c:pt>
                <c:pt idx="154">
                  <c:v>2773.5714285714371</c:v>
                </c:pt>
                <c:pt idx="155">
                  <c:v>2773.5714285714371</c:v>
                </c:pt>
                <c:pt idx="156">
                  <c:v>2773.5714285714371</c:v>
                </c:pt>
                <c:pt idx="157">
                  <c:v>2773.5714285714371</c:v>
                </c:pt>
                <c:pt idx="158">
                  <c:v>2714.0000000000068</c:v>
                </c:pt>
                <c:pt idx="159">
                  <c:v>2714.0000000000068</c:v>
                </c:pt>
                <c:pt idx="160">
                  <c:v>2714.0000000000068</c:v>
                </c:pt>
                <c:pt idx="161">
                  <c:v>2714.0000000000068</c:v>
                </c:pt>
                <c:pt idx="162">
                  <c:v>2714.0000000000068</c:v>
                </c:pt>
                <c:pt idx="163">
                  <c:v>2714.0000000000068</c:v>
                </c:pt>
                <c:pt idx="164">
                  <c:v>2714.0000000000068</c:v>
                </c:pt>
                <c:pt idx="165">
                  <c:v>2752.1428571428623</c:v>
                </c:pt>
                <c:pt idx="166">
                  <c:v>2752.1428571428623</c:v>
                </c:pt>
                <c:pt idx="167">
                  <c:v>2752.1428571428623</c:v>
                </c:pt>
                <c:pt idx="168">
                  <c:v>2752.1428571428623</c:v>
                </c:pt>
                <c:pt idx="169">
                  <c:v>2752.1428571428623</c:v>
                </c:pt>
                <c:pt idx="170">
                  <c:v>2752.1428571428623</c:v>
                </c:pt>
                <c:pt idx="171">
                  <c:v>2752.1428571428623</c:v>
                </c:pt>
                <c:pt idx="172">
                  <c:v>2801.0000000000136</c:v>
                </c:pt>
                <c:pt idx="173">
                  <c:v>2801.0000000000136</c:v>
                </c:pt>
                <c:pt idx="174">
                  <c:v>2801.0000000000136</c:v>
                </c:pt>
                <c:pt idx="175">
                  <c:v>2801.0000000000136</c:v>
                </c:pt>
                <c:pt idx="176">
                  <c:v>2801.0000000000136</c:v>
                </c:pt>
                <c:pt idx="177">
                  <c:v>2801.0000000000136</c:v>
                </c:pt>
                <c:pt idx="178">
                  <c:v>2801.0000000000136</c:v>
                </c:pt>
                <c:pt idx="179">
                  <c:v>3017.8571428571508</c:v>
                </c:pt>
                <c:pt idx="180">
                  <c:v>3017.8571428571508</c:v>
                </c:pt>
                <c:pt idx="181">
                  <c:v>3017.8571428571508</c:v>
                </c:pt>
                <c:pt idx="182">
                  <c:v>3017.8571428571508</c:v>
                </c:pt>
                <c:pt idx="183">
                  <c:v>3017.8571428571508</c:v>
                </c:pt>
                <c:pt idx="184">
                  <c:v>3017.8571428571508</c:v>
                </c:pt>
                <c:pt idx="185">
                  <c:v>3017.8571428571508</c:v>
                </c:pt>
                <c:pt idx="186">
                  <c:v>2966.1428571428487</c:v>
                </c:pt>
                <c:pt idx="187">
                  <c:v>2966.1428571428487</c:v>
                </c:pt>
                <c:pt idx="188">
                  <c:v>2966.1428571428487</c:v>
                </c:pt>
                <c:pt idx="189">
                  <c:v>2966.1428571428487</c:v>
                </c:pt>
                <c:pt idx="190">
                  <c:v>2966.1428571428487</c:v>
                </c:pt>
                <c:pt idx="191">
                  <c:v>2966.1428571428487</c:v>
                </c:pt>
                <c:pt idx="192">
                  <c:v>2966.1428571428487</c:v>
                </c:pt>
                <c:pt idx="193">
                  <c:v>3003.2857142857197</c:v>
                </c:pt>
                <c:pt idx="194">
                  <c:v>3003.2857142857197</c:v>
                </c:pt>
                <c:pt idx="195">
                  <c:v>3003.2857142857197</c:v>
                </c:pt>
                <c:pt idx="196">
                  <c:v>3003.2857142857197</c:v>
                </c:pt>
                <c:pt idx="197">
                  <c:v>3003.2857142857197</c:v>
                </c:pt>
                <c:pt idx="198">
                  <c:v>3003.2857142857197</c:v>
                </c:pt>
                <c:pt idx="199">
                  <c:v>3003.2857142857197</c:v>
                </c:pt>
                <c:pt idx="200">
                  <c:v>3108.8571428571336</c:v>
                </c:pt>
                <c:pt idx="201">
                  <c:v>3108.8571428571336</c:v>
                </c:pt>
                <c:pt idx="202">
                  <c:v>3108.8571428571336</c:v>
                </c:pt>
                <c:pt idx="203">
                  <c:v>3108.8571428571336</c:v>
                </c:pt>
                <c:pt idx="204">
                  <c:v>3108.8571428571336</c:v>
                </c:pt>
                <c:pt idx="205">
                  <c:v>3108.8571428571336</c:v>
                </c:pt>
                <c:pt idx="206">
                  <c:v>3108.8571428571336</c:v>
                </c:pt>
                <c:pt idx="207">
                  <c:v>3058.8571428571272</c:v>
                </c:pt>
                <c:pt idx="208">
                  <c:v>3058.8571428571272</c:v>
                </c:pt>
                <c:pt idx="209">
                  <c:v>3058.8571428571272</c:v>
                </c:pt>
                <c:pt idx="210">
                  <c:v>3058.8571428571272</c:v>
                </c:pt>
                <c:pt idx="211">
                  <c:v>3058.8571428571272</c:v>
                </c:pt>
                <c:pt idx="212">
                  <c:v>3058.8571428571272</c:v>
                </c:pt>
                <c:pt idx="213">
                  <c:v>3058.8571428571272</c:v>
                </c:pt>
                <c:pt idx="214">
                  <c:v>3267.1428571428664</c:v>
                </c:pt>
                <c:pt idx="215">
                  <c:v>3267.1428571428664</c:v>
                </c:pt>
                <c:pt idx="216">
                  <c:v>3267.1428571428664</c:v>
                </c:pt>
                <c:pt idx="217">
                  <c:v>3267.1428571428664</c:v>
                </c:pt>
                <c:pt idx="218">
                  <c:v>3267.1428571428664</c:v>
                </c:pt>
                <c:pt idx="219">
                  <c:v>3267.1428571428664</c:v>
                </c:pt>
                <c:pt idx="220">
                  <c:v>3267.1428571428664</c:v>
                </c:pt>
                <c:pt idx="221">
                  <c:v>3158.4285714285593</c:v>
                </c:pt>
                <c:pt idx="222">
                  <c:v>3158.4285714285593</c:v>
                </c:pt>
                <c:pt idx="223">
                  <c:v>3158.4285714285593</c:v>
                </c:pt>
                <c:pt idx="224">
                  <c:v>3158.4285714285593</c:v>
                </c:pt>
                <c:pt idx="225">
                  <c:v>3158.4285714285593</c:v>
                </c:pt>
                <c:pt idx="226">
                  <c:v>3158.4285714285593</c:v>
                </c:pt>
                <c:pt idx="227">
                  <c:v>3158.4285714285593</c:v>
                </c:pt>
                <c:pt idx="228">
                  <c:v>3172.7142857142949</c:v>
                </c:pt>
                <c:pt idx="229">
                  <c:v>3172.7142857142949</c:v>
                </c:pt>
                <c:pt idx="230">
                  <c:v>3172.7142857142949</c:v>
                </c:pt>
                <c:pt idx="231">
                  <c:v>3172.7142857142949</c:v>
                </c:pt>
                <c:pt idx="232">
                  <c:v>3172.7142857142949</c:v>
                </c:pt>
                <c:pt idx="233">
                  <c:v>3172.7142857142949</c:v>
                </c:pt>
                <c:pt idx="234">
                  <c:v>3172.7142857142949</c:v>
                </c:pt>
                <c:pt idx="235">
                  <c:v>3222.7142857142753</c:v>
                </c:pt>
                <c:pt idx="236">
                  <c:v>3222.7142857142753</c:v>
                </c:pt>
                <c:pt idx="237">
                  <c:v>3222.7142857142753</c:v>
                </c:pt>
                <c:pt idx="238">
                  <c:v>3222.7142857142753</c:v>
                </c:pt>
                <c:pt idx="239">
                  <c:v>3222.7142857142753</c:v>
                </c:pt>
                <c:pt idx="240">
                  <c:v>3222.7142857142753</c:v>
                </c:pt>
                <c:pt idx="241">
                  <c:v>3222.7142857142753</c:v>
                </c:pt>
                <c:pt idx="242">
                  <c:v>3322.9999999999895</c:v>
                </c:pt>
                <c:pt idx="243">
                  <c:v>3322.9999999999895</c:v>
                </c:pt>
                <c:pt idx="244">
                  <c:v>3322.9999999999895</c:v>
                </c:pt>
                <c:pt idx="245">
                  <c:v>3322.9999999999895</c:v>
                </c:pt>
                <c:pt idx="246">
                  <c:v>3322.9999999999895</c:v>
                </c:pt>
                <c:pt idx="247">
                  <c:v>3322.9999999999895</c:v>
                </c:pt>
                <c:pt idx="248">
                  <c:v>3322.9999999999895</c:v>
                </c:pt>
                <c:pt idx="249">
                  <c:v>3226.8571428571327</c:v>
                </c:pt>
                <c:pt idx="250">
                  <c:v>3226.8571428571327</c:v>
                </c:pt>
                <c:pt idx="251">
                  <c:v>3226.8571428571327</c:v>
                </c:pt>
                <c:pt idx="252">
                  <c:v>3226.8571428571327</c:v>
                </c:pt>
                <c:pt idx="253">
                  <c:v>3226.8571428571327</c:v>
                </c:pt>
                <c:pt idx="254">
                  <c:v>3226.8571428571327</c:v>
                </c:pt>
                <c:pt idx="255">
                  <c:v>3226.8571428571327</c:v>
                </c:pt>
                <c:pt idx="256">
                  <c:v>3120.285714285721</c:v>
                </c:pt>
                <c:pt idx="257">
                  <c:v>3120.285714285721</c:v>
                </c:pt>
                <c:pt idx="258">
                  <c:v>3120.285714285721</c:v>
                </c:pt>
                <c:pt idx="259">
                  <c:v>3120.285714285721</c:v>
                </c:pt>
                <c:pt idx="260">
                  <c:v>3120.285714285721</c:v>
                </c:pt>
                <c:pt idx="261">
                  <c:v>3120.285714285721</c:v>
                </c:pt>
                <c:pt idx="262">
                  <c:v>3120.285714285721</c:v>
                </c:pt>
                <c:pt idx="263">
                  <c:v>3278.1428571428632</c:v>
                </c:pt>
                <c:pt idx="264">
                  <c:v>3278.1428571428632</c:v>
                </c:pt>
                <c:pt idx="265">
                  <c:v>3278.1428571428632</c:v>
                </c:pt>
                <c:pt idx="266">
                  <c:v>3278.1428571428632</c:v>
                </c:pt>
                <c:pt idx="267">
                  <c:v>3278.1428571428632</c:v>
                </c:pt>
                <c:pt idx="268">
                  <c:v>3278.1428571428632</c:v>
                </c:pt>
                <c:pt idx="269">
                  <c:v>3278.1428571428632</c:v>
                </c:pt>
                <c:pt idx="270">
                  <c:v>3468.4285714285616</c:v>
                </c:pt>
                <c:pt idx="271">
                  <c:v>3468.4285714285616</c:v>
                </c:pt>
                <c:pt idx="272">
                  <c:v>3468.4285714285616</c:v>
                </c:pt>
                <c:pt idx="273">
                  <c:v>3468.4285714285616</c:v>
                </c:pt>
                <c:pt idx="274">
                  <c:v>3468.4285714285616</c:v>
                </c:pt>
                <c:pt idx="275">
                  <c:v>3468.4285714285616</c:v>
                </c:pt>
                <c:pt idx="276">
                  <c:v>3468.4285714285616</c:v>
                </c:pt>
                <c:pt idx="277">
                  <c:v>3233.8571428571277</c:v>
                </c:pt>
                <c:pt idx="278">
                  <c:v>3233.8571428571277</c:v>
                </c:pt>
                <c:pt idx="279">
                  <c:v>3233.8571428571277</c:v>
                </c:pt>
                <c:pt idx="280">
                  <c:v>3233.8571428571277</c:v>
                </c:pt>
                <c:pt idx="281">
                  <c:v>3233.8571428571277</c:v>
                </c:pt>
                <c:pt idx="282">
                  <c:v>3233.8571428571277</c:v>
                </c:pt>
                <c:pt idx="283">
                  <c:v>3233.8571428571277</c:v>
                </c:pt>
                <c:pt idx="284">
                  <c:v>3223.1428571428592</c:v>
                </c:pt>
                <c:pt idx="285">
                  <c:v>3223.1428571428592</c:v>
                </c:pt>
                <c:pt idx="286">
                  <c:v>3223.1428571428592</c:v>
                </c:pt>
                <c:pt idx="287">
                  <c:v>3223.1428571428592</c:v>
                </c:pt>
                <c:pt idx="288">
                  <c:v>3223.1428571428592</c:v>
                </c:pt>
                <c:pt idx="289">
                  <c:v>3223.1428571428592</c:v>
                </c:pt>
                <c:pt idx="290">
                  <c:v>3223.1428571428592</c:v>
                </c:pt>
                <c:pt idx="291">
                  <c:v>2997.7142857142962</c:v>
                </c:pt>
                <c:pt idx="292">
                  <c:v>2997.7142857142962</c:v>
                </c:pt>
                <c:pt idx="293">
                  <c:v>2997.7142857142962</c:v>
                </c:pt>
                <c:pt idx="294">
                  <c:v>2997.7142857142962</c:v>
                </c:pt>
                <c:pt idx="295">
                  <c:v>2997.7142857142962</c:v>
                </c:pt>
                <c:pt idx="296">
                  <c:v>2997.7142857142962</c:v>
                </c:pt>
                <c:pt idx="297">
                  <c:v>2997.7142857142962</c:v>
                </c:pt>
                <c:pt idx="298">
                  <c:v>2729.5714285714539</c:v>
                </c:pt>
                <c:pt idx="299">
                  <c:v>2729.5714285714539</c:v>
                </c:pt>
                <c:pt idx="300">
                  <c:v>2729.5714285714539</c:v>
                </c:pt>
                <c:pt idx="301">
                  <c:v>2729.5714285714539</c:v>
                </c:pt>
                <c:pt idx="302">
                  <c:v>2729.5714285714539</c:v>
                </c:pt>
                <c:pt idx="303">
                  <c:v>2729.5714285714539</c:v>
                </c:pt>
                <c:pt idx="304">
                  <c:v>2729.5714285714539</c:v>
                </c:pt>
                <c:pt idx="305">
                  <c:v>2729.5714285714539</c:v>
                </c:pt>
                <c:pt idx="306">
                  <c:v>3070.8571428571308</c:v>
                </c:pt>
                <c:pt idx="307">
                  <c:v>3070.8571428571308</c:v>
                </c:pt>
                <c:pt idx="308">
                  <c:v>3070.8571428571308</c:v>
                </c:pt>
                <c:pt idx="309">
                  <c:v>3070.8571428571308</c:v>
                </c:pt>
                <c:pt idx="310">
                  <c:v>3070.8571428571308</c:v>
                </c:pt>
                <c:pt idx="311">
                  <c:v>3070.8571428571308</c:v>
                </c:pt>
                <c:pt idx="312">
                  <c:v>3070.8571428571308</c:v>
                </c:pt>
                <c:pt idx="313">
                  <c:v>3267.5714285714312</c:v>
                </c:pt>
                <c:pt idx="314">
                  <c:v>3267.5714285714312</c:v>
                </c:pt>
                <c:pt idx="315">
                  <c:v>3267.5714285714312</c:v>
                </c:pt>
                <c:pt idx="316">
                  <c:v>3267.5714285714312</c:v>
                </c:pt>
                <c:pt idx="317">
                  <c:v>3267.5714285714312</c:v>
                </c:pt>
                <c:pt idx="318">
                  <c:v>3267.5714285714312</c:v>
                </c:pt>
                <c:pt idx="319">
                  <c:v>3267.5714285714312</c:v>
                </c:pt>
                <c:pt idx="320">
                  <c:v>3356.1428571428628</c:v>
                </c:pt>
                <c:pt idx="321">
                  <c:v>3356.1428571428628</c:v>
                </c:pt>
                <c:pt idx="322">
                  <c:v>3356.1428571428628</c:v>
                </c:pt>
                <c:pt idx="323">
                  <c:v>3356.1428571428628</c:v>
                </c:pt>
                <c:pt idx="324">
                  <c:v>3356.1428571428628</c:v>
                </c:pt>
                <c:pt idx="325">
                  <c:v>3356.1428571428628</c:v>
                </c:pt>
                <c:pt idx="326">
                  <c:v>3356.1428571428628</c:v>
                </c:pt>
                <c:pt idx="327">
                  <c:v>3293.142857142866</c:v>
                </c:pt>
                <c:pt idx="328">
                  <c:v>3293.142857142866</c:v>
                </c:pt>
                <c:pt idx="329">
                  <c:v>3293.142857142866</c:v>
                </c:pt>
                <c:pt idx="330">
                  <c:v>3293.142857142866</c:v>
                </c:pt>
                <c:pt idx="331">
                  <c:v>3293.142857142866</c:v>
                </c:pt>
                <c:pt idx="332">
                  <c:v>3293.142857142866</c:v>
                </c:pt>
                <c:pt idx="333">
                  <c:v>3293.142857142866</c:v>
                </c:pt>
                <c:pt idx="334">
                  <c:v>3394.1428571428592</c:v>
                </c:pt>
                <c:pt idx="335">
                  <c:v>3394.1428571428592</c:v>
                </c:pt>
                <c:pt idx="336">
                  <c:v>3394.1428571428592</c:v>
                </c:pt>
                <c:pt idx="337">
                  <c:v>3394.1428571428592</c:v>
                </c:pt>
                <c:pt idx="338">
                  <c:v>3394.1428571428592</c:v>
                </c:pt>
                <c:pt idx="339">
                  <c:v>3394.1428571428592</c:v>
                </c:pt>
                <c:pt idx="340">
                  <c:v>3394.1428571428592</c:v>
                </c:pt>
                <c:pt idx="341">
                  <c:v>3294.4285714285629</c:v>
                </c:pt>
                <c:pt idx="342">
                  <c:v>3294.4285714285629</c:v>
                </c:pt>
                <c:pt idx="343">
                  <c:v>3294.4285714285629</c:v>
                </c:pt>
                <c:pt idx="344">
                  <c:v>3294.4285714285629</c:v>
                </c:pt>
                <c:pt idx="345">
                  <c:v>3294.4285714285629</c:v>
                </c:pt>
                <c:pt idx="346">
                  <c:v>3294.4285714285629</c:v>
                </c:pt>
                <c:pt idx="347">
                  <c:v>3294.4285714285629</c:v>
                </c:pt>
                <c:pt idx="348">
                  <c:v>3268.0000000000277</c:v>
                </c:pt>
                <c:pt idx="349">
                  <c:v>3268.0000000000277</c:v>
                </c:pt>
                <c:pt idx="350">
                  <c:v>3268.0000000000277</c:v>
                </c:pt>
                <c:pt idx="351">
                  <c:v>3268.0000000000277</c:v>
                </c:pt>
                <c:pt idx="352">
                  <c:v>3268.0000000000277</c:v>
                </c:pt>
                <c:pt idx="353">
                  <c:v>3268.0000000000277</c:v>
                </c:pt>
                <c:pt idx="354">
                  <c:v>3268.0000000000277</c:v>
                </c:pt>
                <c:pt idx="355">
                  <c:v>3343.9999999999845</c:v>
                </c:pt>
                <c:pt idx="356">
                  <c:v>3343.9999999999845</c:v>
                </c:pt>
                <c:pt idx="357">
                  <c:v>3343.9999999999845</c:v>
                </c:pt>
                <c:pt idx="358">
                  <c:v>3343.9999999999845</c:v>
                </c:pt>
                <c:pt idx="359">
                  <c:v>3343.9999999999845</c:v>
                </c:pt>
                <c:pt idx="360">
                  <c:v>3343.9999999999845</c:v>
                </c:pt>
                <c:pt idx="361">
                  <c:v>3343.9999999999845</c:v>
                </c:pt>
                <c:pt idx="362">
                  <c:v>3380.5714285714262</c:v>
                </c:pt>
                <c:pt idx="363">
                  <c:v>3380.5714285714262</c:v>
                </c:pt>
                <c:pt idx="364">
                  <c:v>3380.5714285714262</c:v>
                </c:pt>
                <c:pt idx="365">
                  <c:v>3380.5714285714262</c:v>
                </c:pt>
                <c:pt idx="366">
                  <c:v>3380.5714285714262</c:v>
                </c:pt>
                <c:pt idx="367">
                  <c:v>3380.5714285714262</c:v>
                </c:pt>
                <c:pt idx="368">
                  <c:v>3380.5714285714262</c:v>
                </c:pt>
                <c:pt idx="369">
                  <c:v>3279.8571428571267</c:v>
                </c:pt>
                <c:pt idx="370">
                  <c:v>3279.8571428571267</c:v>
                </c:pt>
                <c:pt idx="371">
                  <c:v>3279.8571428571267</c:v>
                </c:pt>
                <c:pt idx="372">
                  <c:v>3279.8571428571267</c:v>
                </c:pt>
                <c:pt idx="373">
                  <c:v>3279.8571428571267</c:v>
                </c:pt>
                <c:pt idx="374">
                  <c:v>3279.8571428571267</c:v>
                </c:pt>
                <c:pt idx="375">
                  <c:v>3279.8571428571267</c:v>
                </c:pt>
                <c:pt idx="376">
                  <c:v>3280.9999999999905</c:v>
                </c:pt>
                <c:pt idx="377">
                  <c:v>3280.9999999999905</c:v>
                </c:pt>
                <c:pt idx="378">
                  <c:v>3280.9999999999905</c:v>
                </c:pt>
                <c:pt idx="379">
                  <c:v>3280.9999999999905</c:v>
                </c:pt>
                <c:pt idx="380">
                  <c:v>3280.9999999999905</c:v>
                </c:pt>
                <c:pt idx="381">
                  <c:v>3280.9999999999905</c:v>
                </c:pt>
                <c:pt idx="382">
                  <c:v>3280.9999999999905</c:v>
                </c:pt>
                <c:pt idx="383">
                  <c:v>3296.1428571428632</c:v>
                </c:pt>
                <c:pt idx="384">
                  <c:v>3296.1428571428632</c:v>
                </c:pt>
                <c:pt idx="385">
                  <c:v>3296.1428571428632</c:v>
                </c:pt>
                <c:pt idx="386">
                  <c:v>3296.1428571428632</c:v>
                </c:pt>
                <c:pt idx="387">
                  <c:v>3296.1428571428632</c:v>
                </c:pt>
                <c:pt idx="388">
                  <c:v>3296.1428571428632</c:v>
                </c:pt>
                <c:pt idx="389">
                  <c:v>3296.1428571428632</c:v>
                </c:pt>
                <c:pt idx="390">
                  <c:v>3400.1428571428632</c:v>
                </c:pt>
                <c:pt idx="391">
                  <c:v>3400.1428571428632</c:v>
                </c:pt>
                <c:pt idx="392">
                  <c:v>3400.1428571428632</c:v>
                </c:pt>
                <c:pt idx="393">
                  <c:v>3400.1428571428632</c:v>
                </c:pt>
                <c:pt idx="394">
                  <c:v>3400.1428571428632</c:v>
                </c:pt>
                <c:pt idx="395">
                  <c:v>3400.1428571428632</c:v>
                </c:pt>
                <c:pt idx="396">
                  <c:v>3400.1428571428632</c:v>
                </c:pt>
                <c:pt idx="397">
                  <c:v>3270.285714285716</c:v>
                </c:pt>
                <c:pt idx="398">
                  <c:v>3270.285714285716</c:v>
                </c:pt>
                <c:pt idx="399">
                  <c:v>3270.285714285716</c:v>
                </c:pt>
                <c:pt idx="400">
                  <c:v>3270.285714285716</c:v>
                </c:pt>
                <c:pt idx="401">
                  <c:v>3270.285714285716</c:v>
                </c:pt>
                <c:pt idx="402">
                  <c:v>3270.285714285716</c:v>
                </c:pt>
                <c:pt idx="403">
                  <c:v>3270.285714285716</c:v>
                </c:pt>
                <c:pt idx="404">
                  <c:v>3285.9999999999932</c:v>
                </c:pt>
                <c:pt idx="405">
                  <c:v>3285.9999999999932</c:v>
                </c:pt>
                <c:pt idx="406">
                  <c:v>3285.9999999999932</c:v>
                </c:pt>
                <c:pt idx="407">
                  <c:v>3285.9999999999932</c:v>
                </c:pt>
                <c:pt idx="408">
                  <c:v>3285.9999999999932</c:v>
                </c:pt>
                <c:pt idx="409">
                  <c:v>3285.9999999999932</c:v>
                </c:pt>
                <c:pt idx="410">
                  <c:v>3285.9999999999932</c:v>
                </c:pt>
                <c:pt idx="411">
                  <c:v>3270.2857142857206</c:v>
                </c:pt>
                <c:pt idx="412">
                  <c:v>3270.2857142857206</c:v>
                </c:pt>
                <c:pt idx="413">
                  <c:v>3270.2857142857206</c:v>
                </c:pt>
                <c:pt idx="414">
                  <c:v>3270.2857142857206</c:v>
                </c:pt>
                <c:pt idx="415">
                  <c:v>3270.2857142857206</c:v>
                </c:pt>
                <c:pt idx="416">
                  <c:v>3270.2857142857206</c:v>
                </c:pt>
                <c:pt idx="417">
                  <c:v>3270.2857142857206</c:v>
                </c:pt>
                <c:pt idx="418">
                  <c:v>3248.8571428571368</c:v>
                </c:pt>
                <c:pt idx="419">
                  <c:v>3248.8571428571368</c:v>
                </c:pt>
                <c:pt idx="420">
                  <c:v>3248.8571428571368</c:v>
                </c:pt>
                <c:pt idx="421">
                  <c:v>3248.8571428571368</c:v>
                </c:pt>
                <c:pt idx="422">
                  <c:v>3248.8571428571368</c:v>
                </c:pt>
                <c:pt idx="423">
                  <c:v>3248.8571428571368</c:v>
                </c:pt>
                <c:pt idx="424">
                  <c:v>3248.8571428571368</c:v>
                </c:pt>
                <c:pt idx="425">
                  <c:v>3282.7142857142971</c:v>
                </c:pt>
                <c:pt idx="426">
                  <c:v>3282.7142857142971</c:v>
                </c:pt>
                <c:pt idx="427">
                  <c:v>3282.7142857142971</c:v>
                </c:pt>
                <c:pt idx="428">
                  <c:v>3282.7142857142971</c:v>
                </c:pt>
                <c:pt idx="429">
                  <c:v>3282.7142857142971</c:v>
                </c:pt>
                <c:pt idx="430">
                  <c:v>3282.7142857142971</c:v>
                </c:pt>
                <c:pt idx="431">
                  <c:v>3282.7142857142971</c:v>
                </c:pt>
                <c:pt idx="432">
                  <c:v>3160.1428571428596</c:v>
                </c:pt>
                <c:pt idx="433">
                  <c:v>3160.1428571428596</c:v>
                </c:pt>
                <c:pt idx="434">
                  <c:v>3160.1428571428596</c:v>
                </c:pt>
                <c:pt idx="435">
                  <c:v>3160.1428571428596</c:v>
                </c:pt>
                <c:pt idx="436">
                  <c:v>3160.1428571428596</c:v>
                </c:pt>
                <c:pt idx="437">
                  <c:v>3160.1428571428596</c:v>
                </c:pt>
                <c:pt idx="438">
                  <c:v>3160.1428571428596</c:v>
                </c:pt>
                <c:pt idx="439">
                  <c:v>3239.1428571428614</c:v>
                </c:pt>
                <c:pt idx="440">
                  <c:v>3239.1428571428614</c:v>
                </c:pt>
                <c:pt idx="441">
                  <c:v>3239.1428571428614</c:v>
                </c:pt>
                <c:pt idx="442">
                  <c:v>3239.1428571428614</c:v>
                </c:pt>
                <c:pt idx="443">
                  <c:v>3239.1428571428614</c:v>
                </c:pt>
                <c:pt idx="444">
                  <c:v>3239.1428571428614</c:v>
                </c:pt>
                <c:pt idx="445">
                  <c:v>3239.1428571428614</c:v>
                </c:pt>
                <c:pt idx="446">
                  <c:v>3166.0000000000064</c:v>
                </c:pt>
                <c:pt idx="447">
                  <c:v>3166.0000000000064</c:v>
                </c:pt>
                <c:pt idx="448">
                  <c:v>3166.0000000000064</c:v>
                </c:pt>
                <c:pt idx="449">
                  <c:v>3166.0000000000064</c:v>
                </c:pt>
                <c:pt idx="450">
                  <c:v>3166.0000000000064</c:v>
                </c:pt>
                <c:pt idx="451">
                  <c:v>3166.0000000000064</c:v>
                </c:pt>
                <c:pt idx="452">
                  <c:v>3166.0000000000064</c:v>
                </c:pt>
                <c:pt idx="453">
                  <c:v>3219.285714285732</c:v>
                </c:pt>
                <c:pt idx="454">
                  <c:v>3219.285714285732</c:v>
                </c:pt>
                <c:pt idx="455">
                  <c:v>3219.285714285732</c:v>
                </c:pt>
                <c:pt idx="456">
                  <c:v>3219.285714285732</c:v>
                </c:pt>
                <c:pt idx="457">
                  <c:v>3219.285714285732</c:v>
                </c:pt>
                <c:pt idx="458">
                  <c:v>3219.285714285732</c:v>
                </c:pt>
                <c:pt idx="459">
                  <c:v>3219.285714285732</c:v>
                </c:pt>
                <c:pt idx="460">
                  <c:v>3137.8571428571349</c:v>
                </c:pt>
                <c:pt idx="461">
                  <c:v>3137.8571428571349</c:v>
                </c:pt>
                <c:pt idx="462">
                  <c:v>3137.8571428571349</c:v>
                </c:pt>
                <c:pt idx="463">
                  <c:v>3137.8571428571349</c:v>
                </c:pt>
                <c:pt idx="464">
                  <c:v>3137.8571428571349</c:v>
                </c:pt>
                <c:pt idx="465">
                  <c:v>3137.8571428571349</c:v>
                </c:pt>
                <c:pt idx="466">
                  <c:v>3137.8571428571349</c:v>
                </c:pt>
                <c:pt idx="467">
                  <c:v>3165.285714285706</c:v>
                </c:pt>
                <c:pt idx="468">
                  <c:v>3165.285714285706</c:v>
                </c:pt>
                <c:pt idx="469">
                  <c:v>3165.285714285706</c:v>
                </c:pt>
                <c:pt idx="470">
                  <c:v>3165.285714285706</c:v>
                </c:pt>
                <c:pt idx="471">
                  <c:v>3165.285714285706</c:v>
                </c:pt>
                <c:pt idx="472">
                  <c:v>3165.285714285706</c:v>
                </c:pt>
                <c:pt idx="473">
                  <c:v>3165.285714285706</c:v>
                </c:pt>
                <c:pt idx="474">
                  <c:v>3176.00000000001</c:v>
                </c:pt>
                <c:pt idx="475">
                  <c:v>3176.00000000001</c:v>
                </c:pt>
                <c:pt idx="476">
                  <c:v>3176.00000000001</c:v>
                </c:pt>
                <c:pt idx="477">
                  <c:v>3176.00000000001</c:v>
                </c:pt>
                <c:pt idx="478">
                  <c:v>3176.00000000001</c:v>
                </c:pt>
                <c:pt idx="479">
                  <c:v>3176.00000000001</c:v>
                </c:pt>
                <c:pt idx="480">
                  <c:v>3176.00000000001</c:v>
                </c:pt>
                <c:pt idx="481">
                  <c:v>3231.1428571428651</c:v>
                </c:pt>
                <c:pt idx="482">
                  <c:v>3231.1428571428651</c:v>
                </c:pt>
                <c:pt idx="483">
                  <c:v>3231.1428571428651</c:v>
                </c:pt>
                <c:pt idx="484">
                  <c:v>3231.1428571428651</c:v>
                </c:pt>
                <c:pt idx="485">
                  <c:v>3231.1428571428651</c:v>
                </c:pt>
                <c:pt idx="486">
                  <c:v>3231.1428571428651</c:v>
                </c:pt>
                <c:pt idx="487">
                  <c:v>3231.1428571428651</c:v>
                </c:pt>
                <c:pt idx="488">
                  <c:v>2812.2857142856992</c:v>
                </c:pt>
                <c:pt idx="489">
                  <c:v>2812.2857142856992</c:v>
                </c:pt>
                <c:pt idx="490">
                  <c:v>2812.2857142856992</c:v>
                </c:pt>
                <c:pt idx="491">
                  <c:v>2812.2857142856992</c:v>
                </c:pt>
                <c:pt idx="492">
                  <c:v>2812.2857142856992</c:v>
                </c:pt>
                <c:pt idx="493">
                  <c:v>2812.2857142856992</c:v>
                </c:pt>
                <c:pt idx="494">
                  <c:v>2812.2857142856992</c:v>
                </c:pt>
                <c:pt idx="495">
                  <c:v>2912.4285714285757</c:v>
                </c:pt>
                <c:pt idx="496">
                  <c:v>2912.4285714285757</c:v>
                </c:pt>
                <c:pt idx="497">
                  <c:v>2912.4285714285757</c:v>
                </c:pt>
                <c:pt idx="498">
                  <c:v>2912.4285714285757</c:v>
                </c:pt>
                <c:pt idx="499">
                  <c:v>2912.4285714285757</c:v>
                </c:pt>
                <c:pt idx="500">
                  <c:v>2912.4285714285757</c:v>
                </c:pt>
                <c:pt idx="501">
                  <c:v>2912.4285714285757</c:v>
                </c:pt>
                <c:pt idx="502">
                  <c:v>2888.1428571428542</c:v>
                </c:pt>
                <c:pt idx="503">
                  <c:v>2888.1428571428542</c:v>
                </c:pt>
                <c:pt idx="504">
                  <c:v>2888.1428571428542</c:v>
                </c:pt>
                <c:pt idx="505">
                  <c:v>2888.1428571428542</c:v>
                </c:pt>
                <c:pt idx="506">
                  <c:v>2888.1428571428542</c:v>
                </c:pt>
                <c:pt idx="507">
                  <c:v>2888.1428571428542</c:v>
                </c:pt>
                <c:pt idx="508">
                  <c:v>2888.1428571428542</c:v>
                </c:pt>
                <c:pt idx="509">
                  <c:v>2844.8571428571331</c:v>
                </c:pt>
                <c:pt idx="510">
                  <c:v>2844.8571428571331</c:v>
                </c:pt>
                <c:pt idx="511">
                  <c:v>2844.8571428571331</c:v>
                </c:pt>
                <c:pt idx="512">
                  <c:v>2844.8571428571331</c:v>
                </c:pt>
                <c:pt idx="513">
                  <c:v>2844.8571428571331</c:v>
                </c:pt>
                <c:pt idx="514">
                  <c:v>2844.8571428571331</c:v>
                </c:pt>
                <c:pt idx="515">
                  <c:v>2844.8571428571331</c:v>
                </c:pt>
                <c:pt idx="516">
                  <c:v>2773.5714285714371</c:v>
                </c:pt>
                <c:pt idx="517">
                  <c:v>2773.5714285714371</c:v>
                </c:pt>
                <c:pt idx="518">
                  <c:v>2773.5714285714371</c:v>
                </c:pt>
                <c:pt idx="519">
                  <c:v>2773.5714285714371</c:v>
                </c:pt>
                <c:pt idx="520">
                  <c:v>2773.5714285714371</c:v>
                </c:pt>
                <c:pt idx="521">
                  <c:v>2773.5714285714371</c:v>
                </c:pt>
                <c:pt idx="522">
                  <c:v>2773.5714285714371</c:v>
                </c:pt>
                <c:pt idx="523">
                  <c:v>2714.0000000000068</c:v>
                </c:pt>
                <c:pt idx="524">
                  <c:v>2714.0000000000068</c:v>
                </c:pt>
                <c:pt idx="525">
                  <c:v>2714.0000000000068</c:v>
                </c:pt>
                <c:pt idx="526">
                  <c:v>2714.0000000000068</c:v>
                </c:pt>
                <c:pt idx="527">
                  <c:v>2714.0000000000068</c:v>
                </c:pt>
                <c:pt idx="528">
                  <c:v>2714.0000000000068</c:v>
                </c:pt>
                <c:pt idx="529">
                  <c:v>2714.0000000000068</c:v>
                </c:pt>
                <c:pt idx="530">
                  <c:v>2752.1428571428623</c:v>
                </c:pt>
                <c:pt idx="531">
                  <c:v>2752.1428571428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957-4E39-B9F0-0DC494C004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2805536"/>
        <c:axId val="1993892816"/>
      </c:lineChart>
      <c:dateAx>
        <c:axId val="1812805536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3892816"/>
        <c:crosses val="autoZero"/>
        <c:auto val="1"/>
        <c:lblOffset val="100"/>
        <c:baseTimeUnit val="days"/>
      </c:dateAx>
      <c:valAx>
        <c:axId val="19938928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12805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PV</c:v>
                </c:pt>
              </c:strCache>
            </c:strRef>
          </c:tx>
          <c:spPr>
            <a:solidFill>
              <a:srgbClr val="F26289"/>
            </a:solidFill>
            <a:ln>
              <a:noFill/>
            </a:ln>
            <a:effectLst/>
          </c:spPr>
          <c:invertIfNegative val="0"/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B$2:$B$533</c:f>
              <c:numCache>
                <c:formatCode>General</c:formatCode>
                <c:ptCount val="532"/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2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8</c:v>
                </c:pt>
                <c:pt idx="20">
                  <c:v>11</c:v>
                </c:pt>
                <c:pt idx="21">
                  <c:v>16</c:v>
                </c:pt>
                <c:pt idx="22">
                  <c:v>19</c:v>
                </c:pt>
                <c:pt idx="23">
                  <c:v>23</c:v>
                </c:pt>
                <c:pt idx="24">
                  <c:v>26</c:v>
                </c:pt>
                <c:pt idx="25">
                  <c:v>30</c:v>
                </c:pt>
                <c:pt idx="26">
                  <c:v>33</c:v>
                </c:pt>
                <c:pt idx="27">
                  <c:v>37</c:v>
                </c:pt>
                <c:pt idx="28">
                  <c:v>37</c:v>
                </c:pt>
                <c:pt idx="29">
                  <c:v>47</c:v>
                </c:pt>
                <c:pt idx="30">
                  <c:v>55</c:v>
                </c:pt>
                <c:pt idx="31">
                  <c:v>59</c:v>
                </c:pt>
                <c:pt idx="32">
                  <c:v>65</c:v>
                </c:pt>
                <c:pt idx="33">
                  <c:v>65</c:v>
                </c:pt>
                <c:pt idx="34">
                  <c:v>62</c:v>
                </c:pt>
                <c:pt idx="35">
                  <c:v>62</c:v>
                </c:pt>
                <c:pt idx="36">
                  <c:v>65</c:v>
                </c:pt>
                <c:pt idx="37">
                  <c:v>64</c:v>
                </c:pt>
                <c:pt idx="38">
                  <c:v>61</c:v>
                </c:pt>
                <c:pt idx="39">
                  <c:v>64</c:v>
                </c:pt>
                <c:pt idx="40">
                  <c:v>62</c:v>
                </c:pt>
                <c:pt idx="41">
                  <c:v>62</c:v>
                </c:pt>
                <c:pt idx="42">
                  <c:v>63</c:v>
                </c:pt>
                <c:pt idx="43">
                  <c:v>61</c:v>
                </c:pt>
                <c:pt idx="44">
                  <c:v>59</c:v>
                </c:pt>
                <c:pt idx="45">
                  <c:v>57</c:v>
                </c:pt>
                <c:pt idx="46">
                  <c:v>57</c:v>
                </c:pt>
                <c:pt idx="47">
                  <c:v>56</c:v>
                </c:pt>
                <c:pt idx="48">
                  <c:v>51</c:v>
                </c:pt>
                <c:pt idx="49">
                  <c:v>52</c:v>
                </c:pt>
                <c:pt idx="50">
                  <c:v>54</c:v>
                </c:pt>
                <c:pt idx="51">
                  <c:v>48</c:v>
                </c:pt>
                <c:pt idx="52">
                  <c:v>47</c:v>
                </c:pt>
                <c:pt idx="53">
                  <c:v>45</c:v>
                </c:pt>
                <c:pt idx="54">
                  <c:v>47</c:v>
                </c:pt>
                <c:pt idx="55">
                  <c:v>43</c:v>
                </c:pt>
                <c:pt idx="56">
                  <c:v>45</c:v>
                </c:pt>
                <c:pt idx="57">
                  <c:v>45</c:v>
                </c:pt>
                <c:pt idx="58">
                  <c:v>42</c:v>
                </c:pt>
                <c:pt idx="59">
                  <c:v>42</c:v>
                </c:pt>
                <c:pt idx="60">
                  <c:v>39</c:v>
                </c:pt>
                <c:pt idx="61">
                  <c:v>35</c:v>
                </c:pt>
                <c:pt idx="62">
                  <c:v>32</c:v>
                </c:pt>
                <c:pt idx="63">
                  <c:v>31</c:v>
                </c:pt>
                <c:pt idx="64">
                  <c:v>32</c:v>
                </c:pt>
                <c:pt idx="65">
                  <c:v>29</c:v>
                </c:pt>
                <c:pt idx="66">
                  <c:v>28</c:v>
                </c:pt>
                <c:pt idx="67">
                  <c:v>24</c:v>
                </c:pt>
                <c:pt idx="68">
                  <c:v>27</c:v>
                </c:pt>
                <c:pt idx="69">
                  <c:v>25</c:v>
                </c:pt>
                <c:pt idx="70">
                  <c:v>24</c:v>
                </c:pt>
                <c:pt idx="71">
                  <c:v>27</c:v>
                </c:pt>
                <c:pt idx="72">
                  <c:v>25</c:v>
                </c:pt>
                <c:pt idx="73">
                  <c:v>19</c:v>
                </c:pt>
                <c:pt idx="74">
                  <c:v>19</c:v>
                </c:pt>
                <c:pt idx="75">
                  <c:v>18</c:v>
                </c:pt>
                <c:pt idx="76">
                  <c:v>16</c:v>
                </c:pt>
                <c:pt idx="77">
                  <c:v>17</c:v>
                </c:pt>
                <c:pt idx="78">
                  <c:v>18</c:v>
                </c:pt>
                <c:pt idx="79">
                  <c:v>18</c:v>
                </c:pt>
                <c:pt idx="80">
                  <c:v>19</c:v>
                </c:pt>
                <c:pt idx="81">
                  <c:v>17</c:v>
                </c:pt>
                <c:pt idx="82">
                  <c:v>14</c:v>
                </c:pt>
                <c:pt idx="83">
                  <c:v>14</c:v>
                </c:pt>
                <c:pt idx="84">
                  <c:v>14</c:v>
                </c:pt>
                <c:pt idx="85">
                  <c:v>12</c:v>
                </c:pt>
                <c:pt idx="86">
                  <c:v>10</c:v>
                </c:pt>
                <c:pt idx="87">
                  <c:v>10</c:v>
                </c:pt>
                <c:pt idx="88">
                  <c:v>8</c:v>
                </c:pt>
                <c:pt idx="89">
                  <c:v>9</c:v>
                </c:pt>
                <c:pt idx="90">
                  <c:v>7</c:v>
                </c:pt>
                <c:pt idx="91">
                  <c:v>7</c:v>
                </c:pt>
                <c:pt idx="92">
                  <c:v>6</c:v>
                </c:pt>
                <c:pt idx="93">
                  <c:v>6</c:v>
                </c:pt>
                <c:pt idx="94">
                  <c:v>6</c:v>
                </c:pt>
                <c:pt idx="95">
                  <c:v>6</c:v>
                </c:pt>
                <c:pt idx="96">
                  <c:v>5</c:v>
                </c:pt>
                <c:pt idx="97">
                  <c:v>5</c:v>
                </c:pt>
                <c:pt idx="98">
                  <c:v>6</c:v>
                </c:pt>
                <c:pt idx="99">
                  <c:v>5</c:v>
                </c:pt>
                <c:pt idx="100">
                  <c:v>5</c:v>
                </c:pt>
                <c:pt idx="101">
                  <c:v>5</c:v>
                </c:pt>
                <c:pt idx="102">
                  <c:v>4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3</c:v>
                </c:pt>
                <c:pt idx="107">
                  <c:v>2</c:v>
                </c:pt>
                <c:pt idx="108">
                  <c:v>3</c:v>
                </c:pt>
                <c:pt idx="109">
                  <c:v>4</c:v>
                </c:pt>
                <c:pt idx="110">
                  <c:v>5</c:v>
                </c:pt>
                <c:pt idx="111">
                  <c:v>5</c:v>
                </c:pt>
                <c:pt idx="112">
                  <c:v>6</c:v>
                </c:pt>
                <c:pt idx="113">
                  <c:v>6</c:v>
                </c:pt>
                <c:pt idx="114">
                  <c:v>4</c:v>
                </c:pt>
                <c:pt idx="115">
                  <c:v>5</c:v>
                </c:pt>
                <c:pt idx="116">
                  <c:v>5</c:v>
                </c:pt>
                <c:pt idx="117">
                  <c:v>4</c:v>
                </c:pt>
                <c:pt idx="118">
                  <c:v>2</c:v>
                </c:pt>
                <c:pt idx="119">
                  <c:v>4</c:v>
                </c:pt>
                <c:pt idx="120">
                  <c:v>4</c:v>
                </c:pt>
                <c:pt idx="121">
                  <c:v>4</c:v>
                </c:pt>
                <c:pt idx="122">
                  <c:v>4</c:v>
                </c:pt>
                <c:pt idx="123">
                  <c:v>3</c:v>
                </c:pt>
                <c:pt idx="124">
                  <c:v>3</c:v>
                </c:pt>
                <c:pt idx="125">
                  <c:v>4</c:v>
                </c:pt>
                <c:pt idx="126">
                  <c:v>6</c:v>
                </c:pt>
                <c:pt idx="127">
                  <c:v>5</c:v>
                </c:pt>
                <c:pt idx="128">
                  <c:v>7</c:v>
                </c:pt>
                <c:pt idx="129">
                  <c:v>6</c:v>
                </c:pt>
                <c:pt idx="130">
                  <c:v>8</c:v>
                </c:pt>
                <c:pt idx="131">
                  <c:v>9</c:v>
                </c:pt>
                <c:pt idx="132">
                  <c:v>10</c:v>
                </c:pt>
                <c:pt idx="133">
                  <c:v>11</c:v>
                </c:pt>
                <c:pt idx="134">
                  <c:v>11</c:v>
                </c:pt>
                <c:pt idx="135">
                  <c:v>11</c:v>
                </c:pt>
                <c:pt idx="136">
                  <c:v>11</c:v>
                </c:pt>
                <c:pt idx="137">
                  <c:v>12</c:v>
                </c:pt>
                <c:pt idx="138">
                  <c:v>11</c:v>
                </c:pt>
                <c:pt idx="139">
                  <c:v>11</c:v>
                </c:pt>
                <c:pt idx="140">
                  <c:v>12</c:v>
                </c:pt>
                <c:pt idx="141">
                  <c:v>11</c:v>
                </c:pt>
                <c:pt idx="142">
                  <c:v>10</c:v>
                </c:pt>
                <c:pt idx="143">
                  <c:v>10</c:v>
                </c:pt>
                <c:pt idx="144">
                  <c:v>10</c:v>
                </c:pt>
                <c:pt idx="145">
                  <c:v>10</c:v>
                </c:pt>
                <c:pt idx="146">
                  <c:v>9</c:v>
                </c:pt>
                <c:pt idx="147">
                  <c:v>9</c:v>
                </c:pt>
                <c:pt idx="148">
                  <c:v>11</c:v>
                </c:pt>
                <c:pt idx="149">
                  <c:v>12</c:v>
                </c:pt>
                <c:pt idx="150">
                  <c:v>13</c:v>
                </c:pt>
                <c:pt idx="151">
                  <c:v>14</c:v>
                </c:pt>
                <c:pt idx="152">
                  <c:v>11</c:v>
                </c:pt>
                <c:pt idx="153">
                  <c:v>10</c:v>
                </c:pt>
                <c:pt idx="154">
                  <c:v>12</c:v>
                </c:pt>
                <c:pt idx="155">
                  <c:v>10</c:v>
                </c:pt>
                <c:pt idx="156">
                  <c:v>9</c:v>
                </c:pt>
                <c:pt idx="157">
                  <c:v>8</c:v>
                </c:pt>
                <c:pt idx="158">
                  <c:v>10</c:v>
                </c:pt>
                <c:pt idx="159">
                  <c:v>10</c:v>
                </c:pt>
                <c:pt idx="160">
                  <c:v>8</c:v>
                </c:pt>
                <c:pt idx="161">
                  <c:v>11</c:v>
                </c:pt>
                <c:pt idx="162">
                  <c:v>14</c:v>
                </c:pt>
                <c:pt idx="163">
                  <c:v>14</c:v>
                </c:pt>
                <c:pt idx="164">
                  <c:v>15</c:v>
                </c:pt>
                <c:pt idx="165">
                  <c:v>16</c:v>
                </c:pt>
                <c:pt idx="166">
                  <c:v>16</c:v>
                </c:pt>
                <c:pt idx="167">
                  <c:v>15</c:v>
                </c:pt>
                <c:pt idx="168">
                  <c:v>17</c:v>
                </c:pt>
                <c:pt idx="169">
                  <c:v>18</c:v>
                </c:pt>
                <c:pt idx="170">
                  <c:v>18</c:v>
                </c:pt>
                <c:pt idx="171">
                  <c:v>20</c:v>
                </c:pt>
                <c:pt idx="172">
                  <c:v>20</c:v>
                </c:pt>
                <c:pt idx="173">
                  <c:v>18</c:v>
                </c:pt>
                <c:pt idx="174">
                  <c:v>19</c:v>
                </c:pt>
                <c:pt idx="175">
                  <c:v>19</c:v>
                </c:pt>
                <c:pt idx="176">
                  <c:v>21</c:v>
                </c:pt>
                <c:pt idx="177">
                  <c:v>19</c:v>
                </c:pt>
                <c:pt idx="178">
                  <c:v>20</c:v>
                </c:pt>
                <c:pt idx="179">
                  <c:v>22</c:v>
                </c:pt>
                <c:pt idx="180">
                  <c:v>22</c:v>
                </c:pt>
                <c:pt idx="181">
                  <c:v>25</c:v>
                </c:pt>
                <c:pt idx="182">
                  <c:v>25</c:v>
                </c:pt>
                <c:pt idx="183">
                  <c:v>26</c:v>
                </c:pt>
                <c:pt idx="184">
                  <c:v>27</c:v>
                </c:pt>
                <c:pt idx="185">
                  <c:v>29</c:v>
                </c:pt>
                <c:pt idx="186">
                  <c:v>32</c:v>
                </c:pt>
                <c:pt idx="187">
                  <c:v>34</c:v>
                </c:pt>
                <c:pt idx="188">
                  <c:v>34</c:v>
                </c:pt>
                <c:pt idx="189">
                  <c:v>36</c:v>
                </c:pt>
                <c:pt idx="190">
                  <c:v>40</c:v>
                </c:pt>
                <c:pt idx="191">
                  <c:v>37</c:v>
                </c:pt>
                <c:pt idx="192">
                  <c:v>40</c:v>
                </c:pt>
                <c:pt idx="193">
                  <c:v>42</c:v>
                </c:pt>
                <c:pt idx="194">
                  <c:v>44</c:v>
                </c:pt>
                <c:pt idx="195">
                  <c:v>42</c:v>
                </c:pt>
                <c:pt idx="196">
                  <c:v>45</c:v>
                </c:pt>
                <c:pt idx="197">
                  <c:v>42</c:v>
                </c:pt>
                <c:pt idx="198">
                  <c:v>42</c:v>
                </c:pt>
                <c:pt idx="199">
                  <c:v>43</c:v>
                </c:pt>
                <c:pt idx="200">
                  <c:v>50</c:v>
                </c:pt>
                <c:pt idx="201">
                  <c:v>58</c:v>
                </c:pt>
                <c:pt idx="202">
                  <c:v>57</c:v>
                </c:pt>
                <c:pt idx="203">
                  <c:v>59</c:v>
                </c:pt>
                <c:pt idx="204">
                  <c:v>71</c:v>
                </c:pt>
                <c:pt idx="205">
                  <c:v>75</c:v>
                </c:pt>
                <c:pt idx="206">
                  <c:v>80</c:v>
                </c:pt>
                <c:pt idx="207">
                  <c:v>93</c:v>
                </c:pt>
                <c:pt idx="208">
                  <c:v>96</c:v>
                </c:pt>
                <c:pt idx="209">
                  <c:v>98</c:v>
                </c:pt>
                <c:pt idx="210">
                  <c:v>107</c:v>
                </c:pt>
                <c:pt idx="211">
                  <c:v>101</c:v>
                </c:pt>
                <c:pt idx="212">
                  <c:v>109</c:v>
                </c:pt>
                <c:pt idx="213">
                  <c:v>111</c:v>
                </c:pt>
                <c:pt idx="214">
                  <c:v>126</c:v>
                </c:pt>
                <c:pt idx="215">
                  <c:v>127</c:v>
                </c:pt>
                <c:pt idx="216">
                  <c:v>127</c:v>
                </c:pt>
                <c:pt idx="217">
                  <c:v>130</c:v>
                </c:pt>
                <c:pt idx="218">
                  <c:v>146</c:v>
                </c:pt>
                <c:pt idx="219">
                  <c:v>156</c:v>
                </c:pt>
                <c:pt idx="220">
                  <c:v>173</c:v>
                </c:pt>
                <c:pt idx="221">
                  <c:v>175</c:v>
                </c:pt>
                <c:pt idx="222">
                  <c:v>192</c:v>
                </c:pt>
                <c:pt idx="223">
                  <c:v>206</c:v>
                </c:pt>
                <c:pt idx="224">
                  <c:v>193</c:v>
                </c:pt>
                <c:pt idx="225">
                  <c:v>217</c:v>
                </c:pt>
                <c:pt idx="226">
                  <c:v>234</c:v>
                </c:pt>
                <c:pt idx="227">
                  <c:v>245</c:v>
                </c:pt>
                <c:pt idx="228">
                  <c:v>269</c:v>
                </c:pt>
                <c:pt idx="229">
                  <c:v>290</c:v>
                </c:pt>
                <c:pt idx="230">
                  <c:v>302</c:v>
                </c:pt>
                <c:pt idx="231">
                  <c:v>312</c:v>
                </c:pt>
                <c:pt idx="232">
                  <c:v>329</c:v>
                </c:pt>
                <c:pt idx="233">
                  <c:v>344</c:v>
                </c:pt>
                <c:pt idx="234">
                  <c:v>362</c:v>
                </c:pt>
                <c:pt idx="235">
                  <c:v>382</c:v>
                </c:pt>
                <c:pt idx="236">
                  <c:v>379</c:v>
                </c:pt>
                <c:pt idx="237">
                  <c:v>377</c:v>
                </c:pt>
                <c:pt idx="238">
                  <c:v>387</c:v>
                </c:pt>
                <c:pt idx="239">
                  <c:v>433</c:v>
                </c:pt>
                <c:pt idx="240">
                  <c:v>457</c:v>
                </c:pt>
                <c:pt idx="241">
                  <c:v>469</c:v>
                </c:pt>
                <c:pt idx="242">
                  <c:v>523</c:v>
                </c:pt>
                <c:pt idx="243">
                  <c:v>535</c:v>
                </c:pt>
                <c:pt idx="244">
                  <c:v>561</c:v>
                </c:pt>
                <c:pt idx="245">
                  <c:v>577</c:v>
                </c:pt>
                <c:pt idx="246">
                  <c:v>605</c:v>
                </c:pt>
                <c:pt idx="247">
                  <c:v>627</c:v>
                </c:pt>
                <c:pt idx="248">
                  <c:v>605</c:v>
                </c:pt>
                <c:pt idx="249">
                  <c:v>596</c:v>
                </c:pt>
                <c:pt idx="250">
                  <c:v>603</c:v>
                </c:pt>
                <c:pt idx="251">
                  <c:v>584</c:v>
                </c:pt>
                <c:pt idx="252">
                  <c:v>583</c:v>
                </c:pt>
                <c:pt idx="253">
                  <c:v>609</c:v>
                </c:pt>
                <c:pt idx="254">
                  <c:v>604</c:v>
                </c:pt>
                <c:pt idx="255">
                  <c:v>582</c:v>
                </c:pt>
                <c:pt idx="256">
                  <c:v>557</c:v>
                </c:pt>
                <c:pt idx="257">
                  <c:v>545</c:v>
                </c:pt>
                <c:pt idx="258">
                  <c:v>526</c:v>
                </c:pt>
                <c:pt idx="259">
                  <c:v>517</c:v>
                </c:pt>
                <c:pt idx="260">
                  <c:v>503</c:v>
                </c:pt>
                <c:pt idx="261">
                  <c:v>470</c:v>
                </c:pt>
                <c:pt idx="262">
                  <c:v>473</c:v>
                </c:pt>
                <c:pt idx="263">
                  <c:v>465</c:v>
                </c:pt>
                <c:pt idx="264">
                  <c:v>445</c:v>
                </c:pt>
                <c:pt idx="265">
                  <c:v>449</c:v>
                </c:pt>
                <c:pt idx="266">
                  <c:v>446</c:v>
                </c:pt>
                <c:pt idx="267">
                  <c:v>437</c:v>
                </c:pt>
                <c:pt idx="268">
                  <c:v>407</c:v>
                </c:pt>
                <c:pt idx="269">
                  <c:v>390</c:v>
                </c:pt>
                <c:pt idx="270">
                  <c:v>395</c:v>
                </c:pt>
                <c:pt idx="271">
                  <c:v>369</c:v>
                </c:pt>
                <c:pt idx="272">
                  <c:v>359</c:v>
                </c:pt>
                <c:pt idx="273">
                  <c:v>342</c:v>
                </c:pt>
                <c:pt idx="274">
                  <c:v>350</c:v>
                </c:pt>
                <c:pt idx="275">
                  <c:v>322</c:v>
                </c:pt>
                <c:pt idx="276">
                  <c:v>309</c:v>
                </c:pt>
                <c:pt idx="277">
                  <c:v>295</c:v>
                </c:pt>
                <c:pt idx="278">
                  <c:v>294</c:v>
                </c:pt>
                <c:pt idx="279">
                  <c:v>301</c:v>
                </c:pt>
                <c:pt idx="280">
                  <c:v>298</c:v>
                </c:pt>
                <c:pt idx="281">
                  <c:v>292</c:v>
                </c:pt>
                <c:pt idx="282">
                  <c:v>289</c:v>
                </c:pt>
                <c:pt idx="283">
                  <c:v>280</c:v>
                </c:pt>
                <c:pt idx="284">
                  <c:v>299</c:v>
                </c:pt>
                <c:pt idx="285">
                  <c:v>311</c:v>
                </c:pt>
                <c:pt idx="286">
                  <c:v>306</c:v>
                </c:pt>
                <c:pt idx="287">
                  <c:v>304</c:v>
                </c:pt>
                <c:pt idx="288">
                  <c:v>314</c:v>
                </c:pt>
                <c:pt idx="289">
                  <c:v>310</c:v>
                </c:pt>
                <c:pt idx="290">
                  <c:v>313</c:v>
                </c:pt>
                <c:pt idx="291">
                  <c:v>304</c:v>
                </c:pt>
                <c:pt idx="292">
                  <c:v>314</c:v>
                </c:pt>
                <c:pt idx="293">
                  <c:v>309</c:v>
                </c:pt>
                <c:pt idx="294">
                  <c:v>304</c:v>
                </c:pt>
                <c:pt idx="295">
                  <c:v>309</c:v>
                </c:pt>
                <c:pt idx="296">
                  <c:v>322</c:v>
                </c:pt>
                <c:pt idx="297">
                  <c:v>335</c:v>
                </c:pt>
                <c:pt idx="298">
                  <c:v>322</c:v>
                </c:pt>
                <c:pt idx="299">
                  <c:v>333</c:v>
                </c:pt>
                <c:pt idx="300">
                  <c:v>352</c:v>
                </c:pt>
                <c:pt idx="301">
                  <c:v>370</c:v>
                </c:pt>
                <c:pt idx="302">
                  <c:v>392</c:v>
                </c:pt>
                <c:pt idx="303">
                  <c:v>413</c:v>
                </c:pt>
                <c:pt idx="304">
                  <c:v>427</c:v>
                </c:pt>
                <c:pt idx="305">
                  <c:v>436</c:v>
                </c:pt>
                <c:pt idx="306">
                  <c:v>436</c:v>
                </c:pt>
                <c:pt idx="307">
                  <c:v>457</c:v>
                </c:pt>
                <c:pt idx="308">
                  <c:v>476</c:v>
                </c:pt>
                <c:pt idx="309">
                  <c:v>513</c:v>
                </c:pt>
                <c:pt idx="310">
                  <c:v>536</c:v>
                </c:pt>
                <c:pt idx="311">
                  <c:v>556</c:v>
                </c:pt>
                <c:pt idx="312">
                  <c:v>565</c:v>
                </c:pt>
                <c:pt idx="313">
                  <c:v>535</c:v>
                </c:pt>
                <c:pt idx="314">
                  <c:v>530</c:v>
                </c:pt>
                <c:pt idx="315">
                  <c:v>549</c:v>
                </c:pt>
                <c:pt idx="316">
                  <c:v>566</c:v>
                </c:pt>
                <c:pt idx="317">
                  <c:v>565</c:v>
                </c:pt>
                <c:pt idx="318">
                  <c:v>570</c:v>
                </c:pt>
                <c:pt idx="319">
                  <c:v>588</c:v>
                </c:pt>
                <c:pt idx="320">
                  <c:v>600</c:v>
                </c:pt>
                <c:pt idx="321">
                  <c:v>590</c:v>
                </c:pt>
                <c:pt idx="322">
                  <c:v>596</c:v>
                </c:pt>
                <c:pt idx="323">
                  <c:v>593</c:v>
                </c:pt>
                <c:pt idx="324">
                  <c:v>583</c:v>
                </c:pt>
                <c:pt idx="325">
                  <c:v>564</c:v>
                </c:pt>
                <c:pt idx="326">
                  <c:v>557</c:v>
                </c:pt>
                <c:pt idx="327">
                  <c:v>540</c:v>
                </c:pt>
                <c:pt idx="328">
                  <c:v>535</c:v>
                </c:pt>
                <c:pt idx="329">
                  <c:v>538</c:v>
                </c:pt>
                <c:pt idx="330">
                  <c:v>540</c:v>
                </c:pt>
                <c:pt idx="331">
                  <c:v>548</c:v>
                </c:pt>
                <c:pt idx="332">
                  <c:v>549</c:v>
                </c:pt>
                <c:pt idx="333">
                  <c:v>543</c:v>
                </c:pt>
                <c:pt idx="334">
                  <c:v>515</c:v>
                </c:pt>
                <c:pt idx="335">
                  <c:v>521</c:v>
                </c:pt>
                <c:pt idx="336">
                  <c:v>528</c:v>
                </c:pt>
                <c:pt idx="337">
                  <c:v>545</c:v>
                </c:pt>
                <c:pt idx="338">
                  <c:v>530</c:v>
                </c:pt>
                <c:pt idx="339">
                  <c:v>529</c:v>
                </c:pt>
                <c:pt idx="340">
                  <c:v>546</c:v>
                </c:pt>
                <c:pt idx="341">
                  <c:v>540</c:v>
                </c:pt>
                <c:pt idx="342">
                  <c:v>526</c:v>
                </c:pt>
                <c:pt idx="343">
                  <c:v>545</c:v>
                </c:pt>
                <c:pt idx="344">
                  <c:v>539</c:v>
                </c:pt>
                <c:pt idx="345">
                  <c:v>526</c:v>
                </c:pt>
                <c:pt idx="346">
                  <c:v>524</c:v>
                </c:pt>
                <c:pt idx="347">
                  <c:v>546</c:v>
                </c:pt>
                <c:pt idx="348">
                  <c:v>558</c:v>
                </c:pt>
                <c:pt idx="349">
                  <c:v>562</c:v>
                </c:pt>
                <c:pt idx="350">
                  <c:v>580</c:v>
                </c:pt>
                <c:pt idx="351">
                  <c:v>570</c:v>
                </c:pt>
                <c:pt idx="352">
                  <c:v>595</c:v>
                </c:pt>
                <c:pt idx="353">
                  <c:v>608</c:v>
                </c:pt>
                <c:pt idx="354">
                  <c:v>617</c:v>
                </c:pt>
                <c:pt idx="355">
                  <c:v>635</c:v>
                </c:pt>
                <c:pt idx="356">
                  <c:v>654</c:v>
                </c:pt>
                <c:pt idx="357">
                  <c:v>662</c:v>
                </c:pt>
                <c:pt idx="358">
                  <c:v>679</c:v>
                </c:pt>
                <c:pt idx="359">
                  <c:v>692</c:v>
                </c:pt>
                <c:pt idx="360">
                  <c:v>679</c:v>
                </c:pt>
                <c:pt idx="361">
                  <c:v>727</c:v>
                </c:pt>
                <c:pt idx="362">
                  <c:v>720</c:v>
                </c:pt>
                <c:pt idx="363">
                  <c:v>715</c:v>
                </c:pt>
                <c:pt idx="364">
                  <c:v>741</c:v>
                </c:pt>
                <c:pt idx="365">
                  <c:v>780</c:v>
                </c:pt>
                <c:pt idx="366">
                  <c:v>798</c:v>
                </c:pt>
                <c:pt idx="367">
                  <c:v>806</c:v>
                </c:pt>
                <c:pt idx="368">
                  <c:v>828</c:v>
                </c:pt>
                <c:pt idx="369">
                  <c:v>842</c:v>
                </c:pt>
                <c:pt idx="370">
                  <c:v>853</c:v>
                </c:pt>
                <c:pt idx="371">
                  <c:v>873</c:v>
                </c:pt>
                <c:pt idx="372">
                  <c:v>922</c:v>
                </c:pt>
                <c:pt idx="373">
                  <c:v>911</c:v>
                </c:pt>
                <c:pt idx="374">
                  <c:v>918</c:v>
                </c:pt>
                <c:pt idx="375">
                  <c:v>918</c:v>
                </c:pt>
                <c:pt idx="376">
                  <c:v>928</c:v>
                </c:pt>
                <c:pt idx="377">
                  <c:v>912</c:v>
                </c:pt>
                <c:pt idx="378">
                  <c:v>938</c:v>
                </c:pt>
                <c:pt idx="379">
                  <c:v>943</c:v>
                </c:pt>
                <c:pt idx="380">
                  <c:v>929</c:v>
                </c:pt>
                <c:pt idx="381">
                  <c:v>925</c:v>
                </c:pt>
                <c:pt idx="382">
                  <c:v>951</c:v>
                </c:pt>
                <c:pt idx="383">
                  <c:v>945</c:v>
                </c:pt>
                <c:pt idx="384">
                  <c:v>938</c:v>
                </c:pt>
                <c:pt idx="385">
                  <c:v>933</c:v>
                </c:pt>
                <c:pt idx="386">
                  <c:v>973</c:v>
                </c:pt>
                <c:pt idx="387">
                  <c:v>931</c:v>
                </c:pt>
                <c:pt idx="388">
                  <c:v>922</c:v>
                </c:pt>
                <c:pt idx="389">
                  <c:v>909</c:v>
                </c:pt>
                <c:pt idx="390">
                  <c:v>909</c:v>
                </c:pt>
                <c:pt idx="391">
                  <c:v>875</c:v>
                </c:pt>
                <c:pt idx="392">
                  <c:v>860</c:v>
                </c:pt>
                <c:pt idx="393">
                  <c:v>863</c:v>
                </c:pt>
                <c:pt idx="394">
                  <c:v>837</c:v>
                </c:pt>
                <c:pt idx="395">
                  <c:v>810</c:v>
                </c:pt>
                <c:pt idx="396">
                  <c:v>785</c:v>
                </c:pt>
                <c:pt idx="397">
                  <c:v>759</c:v>
                </c:pt>
                <c:pt idx="398">
                  <c:v>721</c:v>
                </c:pt>
                <c:pt idx="399">
                  <c:v>711</c:v>
                </c:pt>
                <c:pt idx="400">
                  <c:v>705</c:v>
                </c:pt>
                <c:pt idx="401">
                  <c:v>726</c:v>
                </c:pt>
                <c:pt idx="402">
                  <c:v>700</c:v>
                </c:pt>
                <c:pt idx="403">
                  <c:v>668</c:v>
                </c:pt>
                <c:pt idx="404">
                  <c:v>625</c:v>
                </c:pt>
                <c:pt idx="405">
                  <c:v>601</c:v>
                </c:pt>
                <c:pt idx="406">
                  <c:v>600</c:v>
                </c:pt>
                <c:pt idx="407">
                  <c:v>593</c:v>
                </c:pt>
                <c:pt idx="408">
                  <c:v>569</c:v>
                </c:pt>
                <c:pt idx="409">
                  <c:v>536</c:v>
                </c:pt>
                <c:pt idx="410">
                  <c:v>519</c:v>
                </c:pt>
                <c:pt idx="411">
                  <c:v>514</c:v>
                </c:pt>
                <c:pt idx="412">
                  <c:v>486</c:v>
                </c:pt>
                <c:pt idx="413">
                  <c:v>492</c:v>
                </c:pt>
                <c:pt idx="414">
                  <c:v>488</c:v>
                </c:pt>
                <c:pt idx="415">
                  <c:v>471</c:v>
                </c:pt>
                <c:pt idx="416">
                  <c:v>460</c:v>
                </c:pt>
                <c:pt idx="417">
                  <c:v>419</c:v>
                </c:pt>
                <c:pt idx="418">
                  <c:v>404</c:v>
                </c:pt>
                <c:pt idx="419">
                  <c:v>377</c:v>
                </c:pt>
                <c:pt idx="420">
                  <c:v>371</c:v>
                </c:pt>
                <c:pt idx="421">
                  <c:v>360</c:v>
                </c:pt>
                <c:pt idx="422">
                  <c:v>359</c:v>
                </c:pt>
                <c:pt idx="423">
                  <c:v>332</c:v>
                </c:pt>
                <c:pt idx="424">
                  <c:v>301</c:v>
                </c:pt>
                <c:pt idx="425">
                  <c:v>277</c:v>
                </c:pt>
                <c:pt idx="426">
                  <c:v>261</c:v>
                </c:pt>
                <c:pt idx="427">
                  <c:v>266</c:v>
                </c:pt>
                <c:pt idx="428">
                  <c:v>262</c:v>
                </c:pt>
                <c:pt idx="429">
                  <c:v>249</c:v>
                </c:pt>
                <c:pt idx="430">
                  <c:v>231</c:v>
                </c:pt>
                <c:pt idx="431">
                  <c:v>217</c:v>
                </c:pt>
                <c:pt idx="432">
                  <c:v>198</c:v>
                </c:pt>
                <c:pt idx="433">
                  <c:v>183</c:v>
                </c:pt>
                <c:pt idx="434">
                  <c:v>180</c:v>
                </c:pt>
                <c:pt idx="435">
                  <c:v>183</c:v>
                </c:pt>
                <c:pt idx="436">
                  <c:v>163</c:v>
                </c:pt>
                <c:pt idx="437">
                  <c:v>154</c:v>
                </c:pt>
                <c:pt idx="438">
                  <c:v>152</c:v>
                </c:pt>
                <c:pt idx="439">
                  <c:v>137</c:v>
                </c:pt>
                <c:pt idx="440">
                  <c:v>120</c:v>
                </c:pt>
                <c:pt idx="441">
                  <c:v>120</c:v>
                </c:pt>
                <c:pt idx="442">
                  <c:v>111</c:v>
                </c:pt>
                <c:pt idx="443">
                  <c:v>106</c:v>
                </c:pt>
                <c:pt idx="444">
                  <c:v>99</c:v>
                </c:pt>
                <c:pt idx="445">
                  <c:v>91</c:v>
                </c:pt>
                <c:pt idx="446">
                  <c:v>75</c:v>
                </c:pt>
                <c:pt idx="447">
                  <c:v>70</c:v>
                </c:pt>
                <c:pt idx="448">
                  <c:v>67</c:v>
                </c:pt>
                <c:pt idx="449">
                  <c:v>65</c:v>
                </c:pt>
                <c:pt idx="450">
                  <c:v>61</c:v>
                </c:pt>
                <c:pt idx="451">
                  <c:v>63</c:v>
                </c:pt>
                <c:pt idx="452">
                  <c:v>59</c:v>
                </c:pt>
                <c:pt idx="453">
                  <c:v>53</c:v>
                </c:pt>
                <c:pt idx="454">
                  <c:v>42</c:v>
                </c:pt>
                <c:pt idx="455">
                  <c:v>42</c:v>
                </c:pt>
                <c:pt idx="456">
                  <c:v>45</c:v>
                </c:pt>
                <c:pt idx="457">
                  <c:v>43</c:v>
                </c:pt>
                <c:pt idx="458">
                  <c:v>40</c:v>
                </c:pt>
                <c:pt idx="459">
                  <c:v>36</c:v>
                </c:pt>
                <c:pt idx="460">
                  <c:v>30</c:v>
                </c:pt>
                <c:pt idx="461">
                  <c:v>22</c:v>
                </c:pt>
                <c:pt idx="462">
                  <c:v>20</c:v>
                </c:pt>
                <c:pt idx="463">
                  <c:v>19</c:v>
                </c:pt>
                <c:pt idx="464">
                  <c:v>19</c:v>
                </c:pt>
                <c:pt idx="465">
                  <c:v>17</c:v>
                </c:pt>
                <c:pt idx="466">
                  <c:v>15</c:v>
                </c:pt>
                <c:pt idx="467">
                  <c:v>9</c:v>
                </c:pt>
                <c:pt idx="468">
                  <c:v>10</c:v>
                </c:pt>
                <c:pt idx="469">
                  <c:v>11</c:v>
                </c:pt>
                <c:pt idx="470">
                  <c:v>11</c:v>
                </c:pt>
                <c:pt idx="471">
                  <c:v>9</c:v>
                </c:pt>
                <c:pt idx="472">
                  <c:v>9</c:v>
                </c:pt>
                <c:pt idx="473">
                  <c:v>9</c:v>
                </c:pt>
                <c:pt idx="474">
                  <c:v>11</c:v>
                </c:pt>
                <c:pt idx="475">
                  <c:v>9</c:v>
                </c:pt>
                <c:pt idx="476">
                  <c:v>9</c:v>
                </c:pt>
                <c:pt idx="477">
                  <c:v>10</c:v>
                </c:pt>
                <c:pt idx="478">
                  <c:v>9</c:v>
                </c:pt>
                <c:pt idx="479">
                  <c:v>7</c:v>
                </c:pt>
                <c:pt idx="480">
                  <c:v>8</c:v>
                </c:pt>
                <c:pt idx="481">
                  <c:v>7</c:v>
                </c:pt>
                <c:pt idx="482">
                  <c:v>7</c:v>
                </c:pt>
                <c:pt idx="483">
                  <c:v>7</c:v>
                </c:pt>
                <c:pt idx="484">
                  <c:v>8</c:v>
                </c:pt>
                <c:pt idx="485">
                  <c:v>6</c:v>
                </c:pt>
                <c:pt idx="486">
                  <c:v>5</c:v>
                </c:pt>
                <c:pt idx="487">
                  <c:v>4</c:v>
                </c:pt>
                <c:pt idx="488">
                  <c:v>3</c:v>
                </c:pt>
                <c:pt idx="489">
                  <c:v>3</c:v>
                </c:pt>
                <c:pt idx="490">
                  <c:v>2</c:v>
                </c:pt>
                <c:pt idx="491">
                  <c:v>1</c:v>
                </c:pt>
                <c:pt idx="492">
                  <c:v>1</c:v>
                </c:pt>
                <c:pt idx="493">
                  <c:v>1</c:v>
                </c:pt>
                <c:pt idx="494">
                  <c:v>2</c:v>
                </c:pt>
                <c:pt idx="495">
                  <c:v>2</c:v>
                </c:pt>
                <c:pt idx="496">
                  <c:v>2</c:v>
                </c:pt>
                <c:pt idx="497">
                  <c:v>2</c:v>
                </c:pt>
                <c:pt idx="498">
                  <c:v>2</c:v>
                </c:pt>
                <c:pt idx="499">
                  <c:v>2</c:v>
                </c:pt>
                <c:pt idx="500">
                  <c:v>3</c:v>
                </c:pt>
                <c:pt idx="501">
                  <c:v>3</c:v>
                </c:pt>
                <c:pt idx="502">
                  <c:v>3</c:v>
                </c:pt>
                <c:pt idx="503">
                  <c:v>2</c:v>
                </c:pt>
                <c:pt idx="504">
                  <c:v>3</c:v>
                </c:pt>
                <c:pt idx="505">
                  <c:v>3</c:v>
                </c:pt>
                <c:pt idx="506">
                  <c:v>2</c:v>
                </c:pt>
                <c:pt idx="507">
                  <c:v>1</c:v>
                </c:pt>
                <c:pt idx="508">
                  <c:v>2</c:v>
                </c:pt>
                <c:pt idx="509">
                  <c:v>2</c:v>
                </c:pt>
                <c:pt idx="510">
                  <c:v>2</c:v>
                </c:pt>
                <c:pt idx="511">
                  <c:v>3</c:v>
                </c:pt>
                <c:pt idx="512">
                  <c:v>3</c:v>
                </c:pt>
                <c:pt idx="513">
                  <c:v>5</c:v>
                </c:pt>
                <c:pt idx="514">
                  <c:v>5</c:v>
                </c:pt>
                <c:pt idx="515">
                  <c:v>5</c:v>
                </c:pt>
                <c:pt idx="516">
                  <c:v>5</c:v>
                </c:pt>
                <c:pt idx="517">
                  <c:v>7</c:v>
                </c:pt>
                <c:pt idx="518">
                  <c:v>5</c:v>
                </c:pt>
                <c:pt idx="519">
                  <c:v>6</c:v>
                </c:pt>
                <c:pt idx="520">
                  <c:v>7</c:v>
                </c:pt>
                <c:pt idx="521">
                  <c:v>8</c:v>
                </c:pt>
                <c:pt idx="522">
                  <c:v>8</c:v>
                </c:pt>
                <c:pt idx="523">
                  <c:v>8</c:v>
                </c:pt>
                <c:pt idx="524">
                  <c:v>7</c:v>
                </c:pt>
                <c:pt idx="525">
                  <c:v>7</c:v>
                </c:pt>
                <c:pt idx="526">
                  <c:v>7</c:v>
                </c:pt>
                <c:pt idx="527">
                  <c:v>8</c:v>
                </c:pt>
                <c:pt idx="528">
                  <c:v>7</c:v>
                </c:pt>
                <c:pt idx="529">
                  <c:v>6</c:v>
                </c:pt>
                <c:pt idx="530">
                  <c:v>6</c:v>
                </c:pt>
                <c:pt idx="53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0C-4D9E-877E-BAA6BF3C05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812805536"/>
        <c:axId val="199389281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C$2:$C$533</c:f>
              <c:numCache>
                <c:formatCode>General</c:formatCode>
                <c:ptCount val="532"/>
                <c:pt idx="0">
                  <c:v>549.05714285714339</c:v>
                </c:pt>
                <c:pt idx="1">
                  <c:v>549.05714285714339</c:v>
                </c:pt>
                <c:pt idx="2">
                  <c:v>549.05714285714339</c:v>
                </c:pt>
                <c:pt idx="3">
                  <c:v>549.05714285714339</c:v>
                </c:pt>
                <c:pt idx="4">
                  <c:v>509.62857142857155</c:v>
                </c:pt>
                <c:pt idx="5">
                  <c:v>509.62857142857155</c:v>
                </c:pt>
                <c:pt idx="6">
                  <c:v>509.62857142857155</c:v>
                </c:pt>
                <c:pt idx="7">
                  <c:v>509.62857142857155</c:v>
                </c:pt>
                <c:pt idx="8">
                  <c:v>509.62857142857155</c:v>
                </c:pt>
                <c:pt idx="9">
                  <c:v>509.62857142857155</c:v>
                </c:pt>
                <c:pt idx="10">
                  <c:v>509.62857142857155</c:v>
                </c:pt>
                <c:pt idx="11">
                  <c:v>522.60000000000014</c:v>
                </c:pt>
                <c:pt idx="12">
                  <c:v>522.60000000000014</c:v>
                </c:pt>
                <c:pt idx="13">
                  <c:v>522.60000000000014</c:v>
                </c:pt>
                <c:pt idx="14">
                  <c:v>522.60000000000014</c:v>
                </c:pt>
                <c:pt idx="15">
                  <c:v>522.60000000000014</c:v>
                </c:pt>
                <c:pt idx="16">
                  <c:v>522.60000000000014</c:v>
                </c:pt>
                <c:pt idx="17">
                  <c:v>522.60000000000014</c:v>
                </c:pt>
                <c:pt idx="18">
                  <c:v>500.19999999999959</c:v>
                </c:pt>
                <c:pt idx="19">
                  <c:v>500.19999999999959</c:v>
                </c:pt>
                <c:pt idx="20">
                  <c:v>500.19999999999959</c:v>
                </c:pt>
                <c:pt idx="21">
                  <c:v>500.19999999999959</c:v>
                </c:pt>
                <c:pt idx="22">
                  <c:v>500.19999999999959</c:v>
                </c:pt>
                <c:pt idx="23">
                  <c:v>500.19999999999959</c:v>
                </c:pt>
                <c:pt idx="24">
                  <c:v>500.19999999999959</c:v>
                </c:pt>
                <c:pt idx="25">
                  <c:v>510.1142857142857</c:v>
                </c:pt>
                <c:pt idx="26">
                  <c:v>510.1142857142857</c:v>
                </c:pt>
                <c:pt idx="27">
                  <c:v>510.1142857142857</c:v>
                </c:pt>
                <c:pt idx="28">
                  <c:v>510.1142857142857</c:v>
                </c:pt>
                <c:pt idx="29">
                  <c:v>510.1142857142857</c:v>
                </c:pt>
                <c:pt idx="30">
                  <c:v>510.1142857142857</c:v>
                </c:pt>
                <c:pt idx="31">
                  <c:v>510.1142857142857</c:v>
                </c:pt>
                <c:pt idx="32">
                  <c:v>488.37142857142857</c:v>
                </c:pt>
                <c:pt idx="33">
                  <c:v>488.37142857142857</c:v>
                </c:pt>
                <c:pt idx="34">
                  <c:v>488.37142857142857</c:v>
                </c:pt>
                <c:pt idx="35">
                  <c:v>488.37142857142857</c:v>
                </c:pt>
                <c:pt idx="36">
                  <c:v>488.37142857142857</c:v>
                </c:pt>
                <c:pt idx="37">
                  <c:v>488.37142857142857</c:v>
                </c:pt>
                <c:pt idx="38">
                  <c:v>488.37142857142857</c:v>
                </c:pt>
                <c:pt idx="39">
                  <c:v>487.71428571428584</c:v>
                </c:pt>
                <c:pt idx="40">
                  <c:v>487.71428571428584</c:v>
                </c:pt>
                <c:pt idx="41">
                  <c:v>487.71428571428584</c:v>
                </c:pt>
                <c:pt idx="42">
                  <c:v>487.71428571428584</c:v>
                </c:pt>
                <c:pt idx="43">
                  <c:v>487.71428571428584</c:v>
                </c:pt>
                <c:pt idx="44">
                  <c:v>487.71428571428584</c:v>
                </c:pt>
                <c:pt idx="45">
                  <c:v>487.71428571428584</c:v>
                </c:pt>
                <c:pt idx="46">
                  <c:v>476.48571428571472</c:v>
                </c:pt>
                <c:pt idx="47">
                  <c:v>476.48571428571472</c:v>
                </c:pt>
                <c:pt idx="48">
                  <c:v>476.48571428571472</c:v>
                </c:pt>
                <c:pt idx="49">
                  <c:v>476.48571428571472</c:v>
                </c:pt>
                <c:pt idx="50">
                  <c:v>476.48571428571472</c:v>
                </c:pt>
                <c:pt idx="51">
                  <c:v>476.48571428571472</c:v>
                </c:pt>
                <c:pt idx="52">
                  <c:v>476.48571428571472</c:v>
                </c:pt>
                <c:pt idx="53">
                  <c:v>482.57142857142856</c:v>
                </c:pt>
                <c:pt idx="54">
                  <c:v>482.57142857142856</c:v>
                </c:pt>
                <c:pt idx="55">
                  <c:v>482.57142857142856</c:v>
                </c:pt>
                <c:pt idx="56">
                  <c:v>482.57142857142856</c:v>
                </c:pt>
                <c:pt idx="57">
                  <c:v>482.57142857142856</c:v>
                </c:pt>
                <c:pt idx="58">
                  <c:v>482.57142857142856</c:v>
                </c:pt>
                <c:pt idx="59">
                  <c:v>482.57142857142856</c:v>
                </c:pt>
                <c:pt idx="60">
                  <c:v>479.51428571428579</c:v>
                </c:pt>
                <c:pt idx="61">
                  <c:v>479.51428571428579</c:v>
                </c:pt>
                <c:pt idx="62">
                  <c:v>479.51428571428579</c:v>
                </c:pt>
                <c:pt idx="63">
                  <c:v>479.51428571428579</c:v>
                </c:pt>
                <c:pt idx="64">
                  <c:v>479.51428571428579</c:v>
                </c:pt>
                <c:pt idx="65">
                  <c:v>479.51428571428579</c:v>
                </c:pt>
                <c:pt idx="66">
                  <c:v>479.51428571428579</c:v>
                </c:pt>
                <c:pt idx="67">
                  <c:v>449.48571428571421</c:v>
                </c:pt>
                <c:pt idx="68">
                  <c:v>449.48571428571421</c:v>
                </c:pt>
                <c:pt idx="69">
                  <c:v>449.48571428571421</c:v>
                </c:pt>
                <c:pt idx="70">
                  <c:v>449.48571428571421</c:v>
                </c:pt>
                <c:pt idx="71">
                  <c:v>449.48571428571421</c:v>
                </c:pt>
                <c:pt idx="72">
                  <c:v>449.48571428571421</c:v>
                </c:pt>
                <c:pt idx="73">
                  <c:v>449.48571428571421</c:v>
                </c:pt>
                <c:pt idx="74">
                  <c:v>456.37142857142834</c:v>
                </c:pt>
                <c:pt idx="75">
                  <c:v>456.37142857142834</c:v>
                </c:pt>
                <c:pt idx="76">
                  <c:v>456.37142857142834</c:v>
                </c:pt>
                <c:pt idx="77">
                  <c:v>456.37142857142834</c:v>
                </c:pt>
                <c:pt idx="78">
                  <c:v>456.37142857142834</c:v>
                </c:pt>
                <c:pt idx="79">
                  <c:v>456.37142857142834</c:v>
                </c:pt>
                <c:pt idx="80">
                  <c:v>456.37142857142834</c:v>
                </c:pt>
                <c:pt idx="81">
                  <c:v>465.28571428571428</c:v>
                </c:pt>
                <c:pt idx="82">
                  <c:v>465.28571428571428</c:v>
                </c:pt>
                <c:pt idx="83">
                  <c:v>465.28571428571428</c:v>
                </c:pt>
                <c:pt idx="84">
                  <c:v>465.28571428571428</c:v>
                </c:pt>
                <c:pt idx="85">
                  <c:v>465.28571428571428</c:v>
                </c:pt>
                <c:pt idx="86">
                  <c:v>465.28571428571428</c:v>
                </c:pt>
                <c:pt idx="87">
                  <c:v>465.28571428571428</c:v>
                </c:pt>
                <c:pt idx="88">
                  <c:v>471.14285714285734</c:v>
                </c:pt>
                <c:pt idx="89">
                  <c:v>471.14285714285734</c:v>
                </c:pt>
                <c:pt idx="90">
                  <c:v>471.14285714285734</c:v>
                </c:pt>
                <c:pt idx="91">
                  <c:v>471.14285714285734</c:v>
                </c:pt>
                <c:pt idx="92">
                  <c:v>471.14285714285734</c:v>
                </c:pt>
                <c:pt idx="93">
                  <c:v>471.14285714285734</c:v>
                </c:pt>
                <c:pt idx="94">
                  <c:v>471.14285714285734</c:v>
                </c:pt>
                <c:pt idx="95">
                  <c:v>455.77142857142866</c:v>
                </c:pt>
                <c:pt idx="96">
                  <c:v>455.77142857142866</c:v>
                </c:pt>
                <c:pt idx="97">
                  <c:v>455.77142857142866</c:v>
                </c:pt>
                <c:pt idx="98">
                  <c:v>455.77142857142866</c:v>
                </c:pt>
                <c:pt idx="99">
                  <c:v>455.77142857142866</c:v>
                </c:pt>
                <c:pt idx="100">
                  <c:v>455.77142857142866</c:v>
                </c:pt>
                <c:pt idx="101">
                  <c:v>455.77142857142866</c:v>
                </c:pt>
                <c:pt idx="102">
                  <c:v>460.42857142857144</c:v>
                </c:pt>
                <c:pt idx="103">
                  <c:v>460.42857142857144</c:v>
                </c:pt>
                <c:pt idx="104">
                  <c:v>460.42857142857144</c:v>
                </c:pt>
                <c:pt idx="105">
                  <c:v>460.42857142857144</c:v>
                </c:pt>
                <c:pt idx="106">
                  <c:v>460.42857142857144</c:v>
                </c:pt>
                <c:pt idx="107">
                  <c:v>460.42857142857144</c:v>
                </c:pt>
                <c:pt idx="108">
                  <c:v>460.42857142857144</c:v>
                </c:pt>
                <c:pt idx="109">
                  <c:v>453.74285714285708</c:v>
                </c:pt>
                <c:pt idx="110">
                  <c:v>453.74285714285708</c:v>
                </c:pt>
                <c:pt idx="111">
                  <c:v>453.74285714285708</c:v>
                </c:pt>
                <c:pt idx="112">
                  <c:v>453.74285714285708</c:v>
                </c:pt>
                <c:pt idx="113">
                  <c:v>453.74285714285708</c:v>
                </c:pt>
                <c:pt idx="114">
                  <c:v>453.74285714285708</c:v>
                </c:pt>
                <c:pt idx="115">
                  <c:v>453.74285714285708</c:v>
                </c:pt>
                <c:pt idx="116">
                  <c:v>470.42857142857156</c:v>
                </c:pt>
                <c:pt idx="117">
                  <c:v>470.42857142857156</c:v>
                </c:pt>
                <c:pt idx="118">
                  <c:v>470.42857142857156</c:v>
                </c:pt>
                <c:pt idx="119">
                  <c:v>470.42857142857156</c:v>
                </c:pt>
                <c:pt idx="120">
                  <c:v>470.42857142857156</c:v>
                </c:pt>
                <c:pt idx="121">
                  <c:v>470.42857142857156</c:v>
                </c:pt>
                <c:pt idx="122">
                  <c:v>470.42857142857156</c:v>
                </c:pt>
                <c:pt idx="123">
                  <c:v>393.79999999999978</c:v>
                </c:pt>
                <c:pt idx="124">
                  <c:v>393.79999999999978</c:v>
                </c:pt>
                <c:pt idx="125">
                  <c:v>393.79999999999978</c:v>
                </c:pt>
                <c:pt idx="126">
                  <c:v>393.79999999999978</c:v>
                </c:pt>
                <c:pt idx="127">
                  <c:v>393.79999999999978</c:v>
                </c:pt>
                <c:pt idx="128">
                  <c:v>393.79999999999978</c:v>
                </c:pt>
                <c:pt idx="129">
                  <c:v>393.79999999999978</c:v>
                </c:pt>
                <c:pt idx="130">
                  <c:v>431.48571428571415</c:v>
                </c:pt>
                <c:pt idx="131">
                  <c:v>431.48571428571415</c:v>
                </c:pt>
                <c:pt idx="132">
                  <c:v>431.48571428571415</c:v>
                </c:pt>
                <c:pt idx="133">
                  <c:v>431.48571428571415</c:v>
                </c:pt>
                <c:pt idx="134">
                  <c:v>431.48571428571415</c:v>
                </c:pt>
                <c:pt idx="135">
                  <c:v>431.48571428571415</c:v>
                </c:pt>
                <c:pt idx="136">
                  <c:v>431.48571428571415</c:v>
                </c:pt>
                <c:pt idx="137">
                  <c:v>425.22857142857117</c:v>
                </c:pt>
                <c:pt idx="138">
                  <c:v>425.22857142857117</c:v>
                </c:pt>
                <c:pt idx="139">
                  <c:v>425.22857142857117</c:v>
                </c:pt>
                <c:pt idx="140">
                  <c:v>425.22857142857117</c:v>
                </c:pt>
                <c:pt idx="141">
                  <c:v>425.22857142857117</c:v>
                </c:pt>
                <c:pt idx="142">
                  <c:v>425.22857142857117</c:v>
                </c:pt>
                <c:pt idx="143">
                  <c:v>425.22857142857117</c:v>
                </c:pt>
                <c:pt idx="144">
                  <c:v>406.57142857142856</c:v>
                </c:pt>
                <c:pt idx="145">
                  <c:v>406.57142857142856</c:v>
                </c:pt>
                <c:pt idx="146">
                  <c:v>406.57142857142856</c:v>
                </c:pt>
                <c:pt idx="147">
                  <c:v>406.57142857142856</c:v>
                </c:pt>
                <c:pt idx="148">
                  <c:v>406.57142857142856</c:v>
                </c:pt>
                <c:pt idx="149">
                  <c:v>406.57142857142856</c:v>
                </c:pt>
                <c:pt idx="150">
                  <c:v>406.57142857142856</c:v>
                </c:pt>
                <c:pt idx="151">
                  <c:v>410.51428571428568</c:v>
                </c:pt>
                <c:pt idx="152">
                  <c:v>410.51428571428568</c:v>
                </c:pt>
                <c:pt idx="153">
                  <c:v>410.51428571428568</c:v>
                </c:pt>
                <c:pt idx="154">
                  <c:v>410.51428571428568</c:v>
                </c:pt>
                <c:pt idx="155">
                  <c:v>410.51428571428568</c:v>
                </c:pt>
                <c:pt idx="156">
                  <c:v>410.51428571428568</c:v>
                </c:pt>
                <c:pt idx="157">
                  <c:v>410.51428571428568</c:v>
                </c:pt>
                <c:pt idx="158">
                  <c:v>398.5999999999998</c:v>
                </c:pt>
                <c:pt idx="159">
                  <c:v>398.5999999999998</c:v>
                </c:pt>
                <c:pt idx="160">
                  <c:v>398.5999999999998</c:v>
                </c:pt>
                <c:pt idx="161">
                  <c:v>398.5999999999998</c:v>
                </c:pt>
                <c:pt idx="162">
                  <c:v>398.5999999999998</c:v>
                </c:pt>
                <c:pt idx="163">
                  <c:v>398.5999999999998</c:v>
                </c:pt>
                <c:pt idx="164">
                  <c:v>398.5999999999998</c:v>
                </c:pt>
                <c:pt idx="165">
                  <c:v>393.68571428571408</c:v>
                </c:pt>
                <c:pt idx="166">
                  <c:v>393.68571428571408</c:v>
                </c:pt>
                <c:pt idx="167">
                  <c:v>393.68571428571408</c:v>
                </c:pt>
                <c:pt idx="168">
                  <c:v>393.68571428571408</c:v>
                </c:pt>
                <c:pt idx="169">
                  <c:v>393.68571428571408</c:v>
                </c:pt>
                <c:pt idx="170">
                  <c:v>393.68571428571408</c:v>
                </c:pt>
                <c:pt idx="171">
                  <c:v>393.68571428571408</c:v>
                </c:pt>
                <c:pt idx="172">
                  <c:v>406.3714285714284</c:v>
                </c:pt>
                <c:pt idx="173">
                  <c:v>406.3714285714284</c:v>
                </c:pt>
                <c:pt idx="174">
                  <c:v>406.3714285714284</c:v>
                </c:pt>
                <c:pt idx="175">
                  <c:v>406.3714285714284</c:v>
                </c:pt>
                <c:pt idx="176">
                  <c:v>406.3714285714284</c:v>
                </c:pt>
                <c:pt idx="177">
                  <c:v>406.3714285714284</c:v>
                </c:pt>
                <c:pt idx="178">
                  <c:v>406.3714285714284</c:v>
                </c:pt>
                <c:pt idx="179">
                  <c:v>428.65714285714273</c:v>
                </c:pt>
                <c:pt idx="180">
                  <c:v>428.65714285714273</c:v>
                </c:pt>
                <c:pt idx="181">
                  <c:v>428.65714285714273</c:v>
                </c:pt>
                <c:pt idx="182">
                  <c:v>428.65714285714273</c:v>
                </c:pt>
                <c:pt idx="183">
                  <c:v>428.65714285714273</c:v>
                </c:pt>
                <c:pt idx="184">
                  <c:v>428.65714285714273</c:v>
                </c:pt>
                <c:pt idx="185">
                  <c:v>428.65714285714273</c:v>
                </c:pt>
                <c:pt idx="186">
                  <c:v>418.54285714285726</c:v>
                </c:pt>
                <c:pt idx="187">
                  <c:v>418.54285714285726</c:v>
                </c:pt>
                <c:pt idx="188">
                  <c:v>418.54285714285726</c:v>
                </c:pt>
                <c:pt idx="189">
                  <c:v>418.54285714285726</c:v>
                </c:pt>
                <c:pt idx="190">
                  <c:v>418.54285714285726</c:v>
                </c:pt>
                <c:pt idx="191">
                  <c:v>418.54285714285726</c:v>
                </c:pt>
                <c:pt idx="192">
                  <c:v>418.54285714285726</c:v>
                </c:pt>
                <c:pt idx="193">
                  <c:v>425.51428571428551</c:v>
                </c:pt>
                <c:pt idx="194">
                  <c:v>425.51428571428551</c:v>
                </c:pt>
                <c:pt idx="195">
                  <c:v>425.51428571428551</c:v>
                </c:pt>
                <c:pt idx="196">
                  <c:v>425.51428571428551</c:v>
                </c:pt>
                <c:pt idx="197">
                  <c:v>425.51428571428551</c:v>
                </c:pt>
                <c:pt idx="198">
                  <c:v>425.51428571428551</c:v>
                </c:pt>
                <c:pt idx="199">
                  <c:v>425.51428571428551</c:v>
                </c:pt>
                <c:pt idx="200">
                  <c:v>448.08571428571446</c:v>
                </c:pt>
                <c:pt idx="201">
                  <c:v>448.08571428571446</c:v>
                </c:pt>
                <c:pt idx="202">
                  <c:v>448.08571428571446</c:v>
                </c:pt>
                <c:pt idx="203">
                  <c:v>448.08571428571446</c:v>
                </c:pt>
                <c:pt idx="204">
                  <c:v>448.08571428571446</c:v>
                </c:pt>
                <c:pt idx="205">
                  <c:v>448.08571428571446</c:v>
                </c:pt>
                <c:pt idx="206">
                  <c:v>448.08571428571446</c:v>
                </c:pt>
                <c:pt idx="207">
                  <c:v>451.82857142857142</c:v>
                </c:pt>
                <c:pt idx="208">
                  <c:v>451.82857142857142</c:v>
                </c:pt>
                <c:pt idx="209">
                  <c:v>451.82857142857142</c:v>
                </c:pt>
                <c:pt idx="210">
                  <c:v>451.82857142857142</c:v>
                </c:pt>
                <c:pt idx="211">
                  <c:v>451.82857142857142</c:v>
                </c:pt>
                <c:pt idx="212">
                  <c:v>451.82857142857142</c:v>
                </c:pt>
                <c:pt idx="213">
                  <c:v>451.82857142857142</c:v>
                </c:pt>
                <c:pt idx="214">
                  <c:v>461.85714285714249</c:v>
                </c:pt>
                <c:pt idx="215">
                  <c:v>461.85714285714249</c:v>
                </c:pt>
                <c:pt idx="216">
                  <c:v>461.85714285714249</c:v>
                </c:pt>
                <c:pt idx="217">
                  <c:v>461.85714285714249</c:v>
                </c:pt>
                <c:pt idx="218">
                  <c:v>461.85714285714249</c:v>
                </c:pt>
                <c:pt idx="219">
                  <c:v>461.85714285714249</c:v>
                </c:pt>
                <c:pt idx="220">
                  <c:v>461.85714285714249</c:v>
                </c:pt>
                <c:pt idx="221">
                  <c:v>456.77142857142854</c:v>
                </c:pt>
                <c:pt idx="222">
                  <c:v>456.77142857142854</c:v>
                </c:pt>
                <c:pt idx="223">
                  <c:v>456.77142857142854</c:v>
                </c:pt>
                <c:pt idx="224">
                  <c:v>456.77142857142854</c:v>
                </c:pt>
                <c:pt idx="225">
                  <c:v>456.77142857142854</c:v>
                </c:pt>
                <c:pt idx="226">
                  <c:v>456.77142857142854</c:v>
                </c:pt>
                <c:pt idx="227">
                  <c:v>456.77142857142854</c:v>
                </c:pt>
                <c:pt idx="228">
                  <c:v>467.48571428571427</c:v>
                </c:pt>
                <c:pt idx="229">
                  <c:v>467.48571428571427</c:v>
                </c:pt>
                <c:pt idx="230">
                  <c:v>467.48571428571427</c:v>
                </c:pt>
                <c:pt idx="231">
                  <c:v>467.48571428571427</c:v>
                </c:pt>
                <c:pt idx="232">
                  <c:v>467.48571428571427</c:v>
                </c:pt>
                <c:pt idx="233">
                  <c:v>467.48571428571427</c:v>
                </c:pt>
                <c:pt idx="234">
                  <c:v>467.48571428571427</c:v>
                </c:pt>
                <c:pt idx="235">
                  <c:v>467.14285714285722</c:v>
                </c:pt>
                <c:pt idx="236">
                  <c:v>467.14285714285722</c:v>
                </c:pt>
                <c:pt idx="237">
                  <c:v>467.14285714285722</c:v>
                </c:pt>
                <c:pt idx="238">
                  <c:v>467.14285714285722</c:v>
                </c:pt>
                <c:pt idx="239">
                  <c:v>467.14285714285722</c:v>
                </c:pt>
                <c:pt idx="240">
                  <c:v>467.14285714285722</c:v>
                </c:pt>
                <c:pt idx="241">
                  <c:v>467.14285714285722</c:v>
                </c:pt>
                <c:pt idx="242">
                  <c:v>474.71428571428584</c:v>
                </c:pt>
                <c:pt idx="243">
                  <c:v>474.71428571428584</c:v>
                </c:pt>
                <c:pt idx="244">
                  <c:v>474.71428571428584</c:v>
                </c:pt>
                <c:pt idx="245">
                  <c:v>474.71428571428584</c:v>
                </c:pt>
                <c:pt idx="246">
                  <c:v>474.71428571428584</c:v>
                </c:pt>
                <c:pt idx="247">
                  <c:v>474.71428571428584</c:v>
                </c:pt>
                <c:pt idx="248">
                  <c:v>474.71428571428584</c:v>
                </c:pt>
                <c:pt idx="249">
                  <c:v>473.25714285714298</c:v>
                </c:pt>
                <c:pt idx="250">
                  <c:v>473.25714285714298</c:v>
                </c:pt>
                <c:pt idx="251">
                  <c:v>473.25714285714298</c:v>
                </c:pt>
                <c:pt idx="252">
                  <c:v>473.25714285714298</c:v>
                </c:pt>
                <c:pt idx="253">
                  <c:v>473.25714285714298</c:v>
                </c:pt>
                <c:pt idx="254">
                  <c:v>473.25714285714298</c:v>
                </c:pt>
                <c:pt idx="255">
                  <c:v>473.25714285714298</c:v>
                </c:pt>
                <c:pt idx="256">
                  <c:v>457.22857142857191</c:v>
                </c:pt>
                <c:pt idx="257">
                  <c:v>457.22857142857191</c:v>
                </c:pt>
                <c:pt idx="258">
                  <c:v>457.22857142857191</c:v>
                </c:pt>
                <c:pt idx="259">
                  <c:v>457.22857142857191</c:v>
                </c:pt>
                <c:pt idx="260">
                  <c:v>457.22857142857191</c:v>
                </c:pt>
                <c:pt idx="261">
                  <c:v>457.22857142857191</c:v>
                </c:pt>
                <c:pt idx="262">
                  <c:v>457.22857142857191</c:v>
                </c:pt>
                <c:pt idx="263">
                  <c:v>475.59999999999991</c:v>
                </c:pt>
                <c:pt idx="264">
                  <c:v>475.59999999999991</c:v>
                </c:pt>
                <c:pt idx="265">
                  <c:v>475.59999999999991</c:v>
                </c:pt>
                <c:pt idx="266">
                  <c:v>475.59999999999991</c:v>
                </c:pt>
                <c:pt idx="267">
                  <c:v>475.59999999999991</c:v>
                </c:pt>
                <c:pt idx="268">
                  <c:v>475.59999999999991</c:v>
                </c:pt>
                <c:pt idx="269">
                  <c:v>475.59999999999991</c:v>
                </c:pt>
                <c:pt idx="270">
                  <c:v>513.68571428571465</c:v>
                </c:pt>
                <c:pt idx="271">
                  <c:v>513.68571428571465</c:v>
                </c:pt>
                <c:pt idx="272">
                  <c:v>513.68571428571465</c:v>
                </c:pt>
                <c:pt idx="273">
                  <c:v>513.68571428571465</c:v>
                </c:pt>
                <c:pt idx="274">
                  <c:v>513.68571428571465</c:v>
                </c:pt>
                <c:pt idx="275">
                  <c:v>513.68571428571465</c:v>
                </c:pt>
                <c:pt idx="276">
                  <c:v>513.68571428571465</c:v>
                </c:pt>
                <c:pt idx="277">
                  <c:v>467.05714285714248</c:v>
                </c:pt>
                <c:pt idx="278">
                  <c:v>467.05714285714248</c:v>
                </c:pt>
                <c:pt idx="279">
                  <c:v>467.05714285714248</c:v>
                </c:pt>
                <c:pt idx="280">
                  <c:v>467.05714285714248</c:v>
                </c:pt>
                <c:pt idx="281">
                  <c:v>467.05714285714248</c:v>
                </c:pt>
                <c:pt idx="282">
                  <c:v>467.05714285714248</c:v>
                </c:pt>
                <c:pt idx="283">
                  <c:v>467.05714285714248</c:v>
                </c:pt>
                <c:pt idx="284">
                  <c:v>463.97142857142865</c:v>
                </c:pt>
                <c:pt idx="285">
                  <c:v>463.97142857142865</c:v>
                </c:pt>
                <c:pt idx="286">
                  <c:v>463.97142857142865</c:v>
                </c:pt>
                <c:pt idx="287">
                  <c:v>463.97142857142865</c:v>
                </c:pt>
                <c:pt idx="288">
                  <c:v>463.97142857142865</c:v>
                </c:pt>
                <c:pt idx="289">
                  <c:v>463.97142857142865</c:v>
                </c:pt>
                <c:pt idx="290">
                  <c:v>463.97142857142865</c:v>
                </c:pt>
                <c:pt idx="291">
                  <c:v>460.17142857142863</c:v>
                </c:pt>
                <c:pt idx="292">
                  <c:v>460.17142857142863</c:v>
                </c:pt>
                <c:pt idx="293">
                  <c:v>460.17142857142863</c:v>
                </c:pt>
                <c:pt idx="294">
                  <c:v>460.17142857142863</c:v>
                </c:pt>
                <c:pt idx="295">
                  <c:v>460.17142857142863</c:v>
                </c:pt>
                <c:pt idx="296">
                  <c:v>460.17142857142863</c:v>
                </c:pt>
                <c:pt idx="297">
                  <c:v>460.17142857142863</c:v>
                </c:pt>
                <c:pt idx="298">
                  <c:v>408.05714285714305</c:v>
                </c:pt>
                <c:pt idx="299">
                  <c:v>408.05714285714305</c:v>
                </c:pt>
                <c:pt idx="300">
                  <c:v>408.05714285714305</c:v>
                </c:pt>
                <c:pt idx="301">
                  <c:v>408.05714285714305</c:v>
                </c:pt>
                <c:pt idx="302">
                  <c:v>408.05714285714305</c:v>
                </c:pt>
                <c:pt idx="303">
                  <c:v>408.05714285714305</c:v>
                </c:pt>
                <c:pt idx="304">
                  <c:v>408.05714285714305</c:v>
                </c:pt>
                <c:pt idx="305">
                  <c:v>408.05714285714305</c:v>
                </c:pt>
                <c:pt idx="306">
                  <c:v>442.28571428571416</c:v>
                </c:pt>
                <c:pt idx="307">
                  <c:v>442.28571428571416</c:v>
                </c:pt>
                <c:pt idx="308">
                  <c:v>442.28571428571416</c:v>
                </c:pt>
                <c:pt idx="309">
                  <c:v>442.28571428571416</c:v>
                </c:pt>
                <c:pt idx="310">
                  <c:v>442.28571428571416</c:v>
                </c:pt>
                <c:pt idx="311">
                  <c:v>442.28571428571416</c:v>
                </c:pt>
                <c:pt idx="312">
                  <c:v>442.28571428571416</c:v>
                </c:pt>
                <c:pt idx="313">
                  <c:v>487.05714285714288</c:v>
                </c:pt>
                <c:pt idx="314">
                  <c:v>487.05714285714288</c:v>
                </c:pt>
                <c:pt idx="315">
                  <c:v>487.05714285714288</c:v>
                </c:pt>
                <c:pt idx="316">
                  <c:v>487.05714285714288</c:v>
                </c:pt>
                <c:pt idx="317">
                  <c:v>487.05714285714288</c:v>
                </c:pt>
                <c:pt idx="318">
                  <c:v>487.05714285714288</c:v>
                </c:pt>
                <c:pt idx="319">
                  <c:v>487.05714285714288</c:v>
                </c:pt>
                <c:pt idx="320">
                  <c:v>507.6857142857142</c:v>
                </c:pt>
                <c:pt idx="321">
                  <c:v>507.6857142857142</c:v>
                </c:pt>
                <c:pt idx="322">
                  <c:v>507.6857142857142</c:v>
                </c:pt>
                <c:pt idx="323">
                  <c:v>507.6857142857142</c:v>
                </c:pt>
                <c:pt idx="324">
                  <c:v>507.6857142857142</c:v>
                </c:pt>
                <c:pt idx="325">
                  <c:v>507.6857142857142</c:v>
                </c:pt>
                <c:pt idx="326">
                  <c:v>507.6857142857142</c:v>
                </c:pt>
                <c:pt idx="327">
                  <c:v>515.14285714285711</c:v>
                </c:pt>
                <c:pt idx="328">
                  <c:v>515.14285714285711</c:v>
                </c:pt>
                <c:pt idx="329">
                  <c:v>515.14285714285711</c:v>
                </c:pt>
                <c:pt idx="330">
                  <c:v>515.14285714285711</c:v>
                </c:pt>
                <c:pt idx="331">
                  <c:v>515.14285714285711</c:v>
                </c:pt>
                <c:pt idx="332">
                  <c:v>515.14285714285711</c:v>
                </c:pt>
                <c:pt idx="333">
                  <c:v>515.14285714285711</c:v>
                </c:pt>
                <c:pt idx="334">
                  <c:v>529.45714285714268</c:v>
                </c:pt>
                <c:pt idx="335">
                  <c:v>529.45714285714268</c:v>
                </c:pt>
                <c:pt idx="336">
                  <c:v>529.45714285714268</c:v>
                </c:pt>
                <c:pt idx="337">
                  <c:v>529.45714285714268</c:v>
                </c:pt>
                <c:pt idx="338">
                  <c:v>529.45714285714268</c:v>
                </c:pt>
                <c:pt idx="339">
                  <c:v>529.45714285714268</c:v>
                </c:pt>
                <c:pt idx="340">
                  <c:v>529.45714285714268</c:v>
                </c:pt>
                <c:pt idx="341">
                  <c:v>503.39999999999981</c:v>
                </c:pt>
                <c:pt idx="342">
                  <c:v>503.39999999999981</c:v>
                </c:pt>
                <c:pt idx="343">
                  <c:v>503.39999999999981</c:v>
                </c:pt>
                <c:pt idx="344">
                  <c:v>503.39999999999981</c:v>
                </c:pt>
                <c:pt idx="345">
                  <c:v>503.39999999999981</c:v>
                </c:pt>
                <c:pt idx="346">
                  <c:v>503.39999999999981</c:v>
                </c:pt>
                <c:pt idx="347">
                  <c:v>503.39999999999981</c:v>
                </c:pt>
                <c:pt idx="348">
                  <c:v>516.22857142857117</c:v>
                </c:pt>
                <c:pt idx="349">
                  <c:v>516.22857142857117</c:v>
                </c:pt>
                <c:pt idx="350">
                  <c:v>516.22857142857117</c:v>
                </c:pt>
                <c:pt idx="351">
                  <c:v>516.22857142857117</c:v>
                </c:pt>
                <c:pt idx="352">
                  <c:v>516.22857142857117</c:v>
                </c:pt>
                <c:pt idx="353">
                  <c:v>516.22857142857117</c:v>
                </c:pt>
                <c:pt idx="354">
                  <c:v>516.22857142857117</c:v>
                </c:pt>
                <c:pt idx="355">
                  <c:v>518.34285714285738</c:v>
                </c:pt>
                <c:pt idx="356">
                  <c:v>518.34285714285738</c:v>
                </c:pt>
                <c:pt idx="357">
                  <c:v>518.34285714285738</c:v>
                </c:pt>
                <c:pt idx="358">
                  <c:v>518.34285714285738</c:v>
                </c:pt>
                <c:pt idx="359">
                  <c:v>518.34285714285738</c:v>
                </c:pt>
                <c:pt idx="360">
                  <c:v>518.34285714285738</c:v>
                </c:pt>
                <c:pt idx="361">
                  <c:v>518.34285714285738</c:v>
                </c:pt>
                <c:pt idx="362">
                  <c:v>549.05714285714339</c:v>
                </c:pt>
                <c:pt idx="363">
                  <c:v>549.05714285714339</c:v>
                </c:pt>
                <c:pt idx="364">
                  <c:v>549.05714285714339</c:v>
                </c:pt>
                <c:pt idx="365">
                  <c:v>549.05714285714339</c:v>
                </c:pt>
                <c:pt idx="366">
                  <c:v>549.05714285714339</c:v>
                </c:pt>
                <c:pt idx="367">
                  <c:v>549.05714285714339</c:v>
                </c:pt>
                <c:pt idx="368">
                  <c:v>549.05714285714339</c:v>
                </c:pt>
                <c:pt idx="369">
                  <c:v>509.62857142857155</c:v>
                </c:pt>
                <c:pt idx="370">
                  <c:v>509.62857142857155</c:v>
                </c:pt>
                <c:pt idx="371">
                  <c:v>509.62857142857155</c:v>
                </c:pt>
                <c:pt idx="372">
                  <c:v>509.62857142857155</c:v>
                </c:pt>
                <c:pt idx="373">
                  <c:v>509.62857142857155</c:v>
                </c:pt>
                <c:pt idx="374">
                  <c:v>509.62857142857155</c:v>
                </c:pt>
                <c:pt idx="375">
                  <c:v>509.62857142857155</c:v>
                </c:pt>
                <c:pt idx="376">
                  <c:v>522.60000000000014</c:v>
                </c:pt>
                <c:pt idx="377">
                  <c:v>522.60000000000014</c:v>
                </c:pt>
                <c:pt idx="378">
                  <c:v>522.60000000000014</c:v>
                </c:pt>
                <c:pt idx="379">
                  <c:v>522.60000000000014</c:v>
                </c:pt>
                <c:pt idx="380">
                  <c:v>522.60000000000014</c:v>
                </c:pt>
                <c:pt idx="381">
                  <c:v>522.60000000000014</c:v>
                </c:pt>
                <c:pt idx="382">
                  <c:v>522.60000000000014</c:v>
                </c:pt>
                <c:pt idx="383">
                  <c:v>500.19999999999959</c:v>
                </c:pt>
                <c:pt idx="384">
                  <c:v>500.19999999999959</c:v>
                </c:pt>
                <c:pt idx="385">
                  <c:v>500.19999999999959</c:v>
                </c:pt>
                <c:pt idx="386">
                  <c:v>500.19999999999959</c:v>
                </c:pt>
                <c:pt idx="387">
                  <c:v>500.19999999999959</c:v>
                </c:pt>
                <c:pt idx="388">
                  <c:v>500.19999999999959</c:v>
                </c:pt>
                <c:pt idx="389">
                  <c:v>500.19999999999959</c:v>
                </c:pt>
                <c:pt idx="390">
                  <c:v>510.1142857142857</c:v>
                </c:pt>
                <c:pt idx="391">
                  <c:v>510.1142857142857</c:v>
                </c:pt>
                <c:pt idx="392">
                  <c:v>510.1142857142857</c:v>
                </c:pt>
                <c:pt idx="393">
                  <c:v>510.1142857142857</c:v>
                </c:pt>
                <c:pt idx="394">
                  <c:v>510.1142857142857</c:v>
                </c:pt>
                <c:pt idx="395">
                  <c:v>510.1142857142857</c:v>
                </c:pt>
                <c:pt idx="396">
                  <c:v>510.1142857142857</c:v>
                </c:pt>
                <c:pt idx="397">
                  <c:v>488.37142857142857</c:v>
                </c:pt>
                <c:pt idx="398">
                  <c:v>488.37142857142857</c:v>
                </c:pt>
                <c:pt idx="399">
                  <c:v>488.37142857142857</c:v>
                </c:pt>
                <c:pt idx="400">
                  <c:v>488.37142857142857</c:v>
                </c:pt>
                <c:pt idx="401">
                  <c:v>488.37142857142857</c:v>
                </c:pt>
                <c:pt idx="402">
                  <c:v>488.37142857142857</c:v>
                </c:pt>
                <c:pt idx="403">
                  <c:v>488.37142857142857</c:v>
                </c:pt>
                <c:pt idx="404">
                  <c:v>487.71428571428584</c:v>
                </c:pt>
                <c:pt idx="405">
                  <c:v>487.71428571428584</c:v>
                </c:pt>
                <c:pt idx="406">
                  <c:v>487.71428571428584</c:v>
                </c:pt>
                <c:pt idx="407">
                  <c:v>487.71428571428584</c:v>
                </c:pt>
                <c:pt idx="408">
                  <c:v>487.71428571428584</c:v>
                </c:pt>
                <c:pt idx="409">
                  <c:v>487.71428571428584</c:v>
                </c:pt>
                <c:pt idx="410">
                  <c:v>487.71428571428584</c:v>
                </c:pt>
                <c:pt idx="411">
                  <c:v>476.48571428571472</c:v>
                </c:pt>
                <c:pt idx="412">
                  <c:v>476.48571428571472</c:v>
                </c:pt>
                <c:pt idx="413">
                  <c:v>476.48571428571472</c:v>
                </c:pt>
                <c:pt idx="414">
                  <c:v>476.48571428571472</c:v>
                </c:pt>
                <c:pt idx="415">
                  <c:v>476.48571428571472</c:v>
                </c:pt>
                <c:pt idx="416">
                  <c:v>476.48571428571472</c:v>
                </c:pt>
                <c:pt idx="417">
                  <c:v>476.48571428571472</c:v>
                </c:pt>
                <c:pt idx="418">
                  <c:v>482.57142857142856</c:v>
                </c:pt>
                <c:pt idx="419">
                  <c:v>482.57142857142856</c:v>
                </c:pt>
                <c:pt idx="420">
                  <c:v>482.57142857142856</c:v>
                </c:pt>
                <c:pt idx="421">
                  <c:v>482.57142857142856</c:v>
                </c:pt>
                <c:pt idx="422">
                  <c:v>482.57142857142856</c:v>
                </c:pt>
                <c:pt idx="423">
                  <c:v>482.57142857142856</c:v>
                </c:pt>
                <c:pt idx="424">
                  <c:v>482.57142857142856</c:v>
                </c:pt>
                <c:pt idx="425">
                  <c:v>479.51428571428579</c:v>
                </c:pt>
                <c:pt idx="426">
                  <c:v>479.51428571428579</c:v>
                </c:pt>
                <c:pt idx="427">
                  <c:v>479.51428571428579</c:v>
                </c:pt>
                <c:pt idx="428">
                  <c:v>479.51428571428579</c:v>
                </c:pt>
                <c:pt idx="429">
                  <c:v>479.51428571428579</c:v>
                </c:pt>
                <c:pt idx="430">
                  <c:v>479.51428571428579</c:v>
                </c:pt>
                <c:pt idx="431">
                  <c:v>479.51428571428579</c:v>
                </c:pt>
                <c:pt idx="432">
                  <c:v>449.48571428571421</c:v>
                </c:pt>
                <c:pt idx="433">
                  <c:v>449.48571428571421</c:v>
                </c:pt>
                <c:pt idx="434">
                  <c:v>449.48571428571421</c:v>
                </c:pt>
                <c:pt idx="435">
                  <c:v>449.48571428571421</c:v>
                </c:pt>
                <c:pt idx="436">
                  <c:v>449.48571428571421</c:v>
                </c:pt>
                <c:pt idx="437">
                  <c:v>449.48571428571421</c:v>
                </c:pt>
                <c:pt idx="438">
                  <c:v>449.48571428571421</c:v>
                </c:pt>
                <c:pt idx="439">
                  <c:v>456.37142857142834</c:v>
                </c:pt>
                <c:pt idx="440">
                  <c:v>456.37142857142834</c:v>
                </c:pt>
                <c:pt idx="441">
                  <c:v>456.37142857142834</c:v>
                </c:pt>
                <c:pt idx="442">
                  <c:v>456.37142857142834</c:v>
                </c:pt>
                <c:pt idx="443">
                  <c:v>456.37142857142834</c:v>
                </c:pt>
                <c:pt idx="444">
                  <c:v>456.37142857142834</c:v>
                </c:pt>
                <c:pt idx="445">
                  <c:v>456.37142857142834</c:v>
                </c:pt>
                <c:pt idx="446">
                  <c:v>465.28571428571428</c:v>
                </c:pt>
                <c:pt idx="447">
                  <c:v>465.28571428571428</c:v>
                </c:pt>
                <c:pt idx="448">
                  <c:v>465.28571428571428</c:v>
                </c:pt>
                <c:pt idx="449">
                  <c:v>465.28571428571428</c:v>
                </c:pt>
                <c:pt idx="450">
                  <c:v>465.28571428571428</c:v>
                </c:pt>
                <c:pt idx="451">
                  <c:v>465.28571428571428</c:v>
                </c:pt>
                <c:pt idx="452">
                  <c:v>465.28571428571428</c:v>
                </c:pt>
                <c:pt idx="453">
                  <c:v>471.14285714285734</c:v>
                </c:pt>
                <c:pt idx="454">
                  <c:v>471.14285714285734</c:v>
                </c:pt>
                <c:pt idx="455">
                  <c:v>471.14285714285734</c:v>
                </c:pt>
                <c:pt idx="456">
                  <c:v>471.14285714285734</c:v>
                </c:pt>
                <c:pt idx="457">
                  <c:v>471.14285714285734</c:v>
                </c:pt>
                <c:pt idx="458">
                  <c:v>471.14285714285734</c:v>
                </c:pt>
                <c:pt idx="459">
                  <c:v>471.14285714285734</c:v>
                </c:pt>
                <c:pt idx="460">
                  <c:v>455.77142857142866</c:v>
                </c:pt>
                <c:pt idx="461">
                  <c:v>455.77142857142866</c:v>
                </c:pt>
                <c:pt idx="462">
                  <c:v>455.77142857142866</c:v>
                </c:pt>
                <c:pt idx="463">
                  <c:v>455.77142857142866</c:v>
                </c:pt>
                <c:pt idx="464">
                  <c:v>455.77142857142866</c:v>
                </c:pt>
                <c:pt idx="465">
                  <c:v>455.77142857142866</c:v>
                </c:pt>
                <c:pt idx="466">
                  <c:v>455.77142857142866</c:v>
                </c:pt>
                <c:pt idx="467">
                  <c:v>460.42857142857144</c:v>
                </c:pt>
                <c:pt idx="468">
                  <c:v>460.42857142857144</c:v>
                </c:pt>
                <c:pt idx="469">
                  <c:v>460.42857142857144</c:v>
                </c:pt>
                <c:pt idx="470">
                  <c:v>460.42857142857144</c:v>
                </c:pt>
                <c:pt idx="471">
                  <c:v>460.42857142857144</c:v>
                </c:pt>
                <c:pt idx="472">
                  <c:v>460.42857142857144</c:v>
                </c:pt>
                <c:pt idx="473">
                  <c:v>460.42857142857144</c:v>
                </c:pt>
                <c:pt idx="474">
                  <c:v>453.74285714285708</c:v>
                </c:pt>
                <c:pt idx="475">
                  <c:v>453.74285714285708</c:v>
                </c:pt>
                <c:pt idx="476">
                  <c:v>453.74285714285708</c:v>
                </c:pt>
                <c:pt idx="477">
                  <c:v>453.74285714285708</c:v>
                </c:pt>
                <c:pt idx="478">
                  <c:v>453.74285714285708</c:v>
                </c:pt>
                <c:pt idx="479">
                  <c:v>453.74285714285708</c:v>
                </c:pt>
                <c:pt idx="480">
                  <c:v>453.74285714285708</c:v>
                </c:pt>
                <c:pt idx="481">
                  <c:v>470.42857142857156</c:v>
                </c:pt>
                <c:pt idx="482">
                  <c:v>470.42857142857156</c:v>
                </c:pt>
                <c:pt idx="483">
                  <c:v>470.42857142857156</c:v>
                </c:pt>
                <c:pt idx="484">
                  <c:v>470.42857142857156</c:v>
                </c:pt>
                <c:pt idx="485">
                  <c:v>470.42857142857156</c:v>
                </c:pt>
                <c:pt idx="486">
                  <c:v>470.42857142857156</c:v>
                </c:pt>
                <c:pt idx="487">
                  <c:v>470.42857142857156</c:v>
                </c:pt>
                <c:pt idx="488">
                  <c:v>393.79999999999978</c:v>
                </c:pt>
                <c:pt idx="489">
                  <c:v>393.79999999999978</c:v>
                </c:pt>
                <c:pt idx="490">
                  <c:v>393.79999999999978</c:v>
                </c:pt>
                <c:pt idx="491">
                  <c:v>393.79999999999978</c:v>
                </c:pt>
                <c:pt idx="492">
                  <c:v>393.79999999999978</c:v>
                </c:pt>
                <c:pt idx="493">
                  <c:v>393.79999999999978</c:v>
                </c:pt>
                <c:pt idx="494">
                  <c:v>393.79999999999978</c:v>
                </c:pt>
                <c:pt idx="495">
                  <c:v>431.48571428571415</c:v>
                </c:pt>
                <c:pt idx="496">
                  <c:v>431.48571428571415</c:v>
                </c:pt>
                <c:pt idx="497">
                  <c:v>431.48571428571415</c:v>
                </c:pt>
                <c:pt idx="498">
                  <c:v>431.48571428571415</c:v>
                </c:pt>
                <c:pt idx="499">
                  <c:v>431.48571428571415</c:v>
                </c:pt>
                <c:pt idx="500">
                  <c:v>431.48571428571415</c:v>
                </c:pt>
                <c:pt idx="501">
                  <c:v>431.48571428571415</c:v>
                </c:pt>
                <c:pt idx="502">
                  <c:v>425.22857142857117</c:v>
                </c:pt>
                <c:pt idx="503">
                  <c:v>425.22857142857117</c:v>
                </c:pt>
                <c:pt idx="504">
                  <c:v>425.22857142857117</c:v>
                </c:pt>
                <c:pt idx="505">
                  <c:v>425.22857142857117</c:v>
                </c:pt>
                <c:pt idx="506">
                  <c:v>425.22857142857117</c:v>
                </c:pt>
                <c:pt idx="507">
                  <c:v>425.22857142857117</c:v>
                </c:pt>
                <c:pt idx="508">
                  <c:v>425.22857142857117</c:v>
                </c:pt>
                <c:pt idx="509">
                  <c:v>406.57142857142856</c:v>
                </c:pt>
                <c:pt idx="510">
                  <c:v>406.57142857142856</c:v>
                </c:pt>
                <c:pt idx="511">
                  <c:v>406.57142857142856</c:v>
                </c:pt>
                <c:pt idx="512">
                  <c:v>406.57142857142856</c:v>
                </c:pt>
                <c:pt idx="513">
                  <c:v>406.57142857142856</c:v>
                </c:pt>
                <c:pt idx="514">
                  <c:v>406.57142857142856</c:v>
                </c:pt>
                <c:pt idx="515">
                  <c:v>406.57142857142856</c:v>
                </c:pt>
                <c:pt idx="516">
                  <c:v>410.51428571428568</c:v>
                </c:pt>
                <c:pt idx="517">
                  <c:v>410.51428571428568</c:v>
                </c:pt>
                <c:pt idx="518">
                  <c:v>410.51428571428568</c:v>
                </c:pt>
                <c:pt idx="519">
                  <c:v>410.51428571428568</c:v>
                </c:pt>
                <c:pt idx="520">
                  <c:v>410.51428571428568</c:v>
                </c:pt>
                <c:pt idx="521">
                  <c:v>410.51428571428568</c:v>
                </c:pt>
                <c:pt idx="522">
                  <c:v>410.51428571428568</c:v>
                </c:pt>
                <c:pt idx="523">
                  <c:v>398.5999999999998</c:v>
                </c:pt>
                <c:pt idx="524">
                  <c:v>398.5999999999998</c:v>
                </c:pt>
                <c:pt idx="525">
                  <c:v>398.5999999999998</c:v>
                </c:pt>
                <c:pt idx="526">
                  <c:v>398.5999999999998</c:v>
                </c:pt>
                <c:pt idx="527">
                  <c:v>398.5999999999998</c:v>
                </c:pt>
                <c:pt idx="528">
                  <c:v>398.5999999999998</c:v>
                </c:pt>
                <c:pt idx="529">
                  <c:v>398.5999999999998</c:v>
                </c:pt>
                <c:pt idx="530">
                  <c:v>393.68571428571408</c:v>
                </c:pt>
                <c:pt idx="531">
                  <c:v>393.685714285714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0C-4D9E-877E-BAA6BF3C05B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 w="952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D$2:$D$533</c:f>
              <c:numCache>
                <c:formatCode>General</c:formatCode>
                <c:ptCount val="532"/>
                <c:pt idx="0">
                  <c:v>503.71428571428567</c:v>
                </c:pt>
                <c:pt idx="1">
                  <c:v>503.71428571428567</c:v>
                </c:pt>
                <c:pt idx="2">
                  <c:v>503.71428571428567</c:v>
                </c:pt>
                <c:pt idx="3">
                  <c:v>503.71428571428567</c:v>
                </c:pt>
                <c:pt idx="4">
                  <c:v>469.00000000000028</c:v>
                </c:pt>
                <c:pt idx="5">
                  <c:v>469.00000000000028</c:v>
                </c:pt>
                <c:pt idx="6">
                  <c:v>469.00000000000028</c:v>
                </c:pt>
                <c:pt idx="7">
                  <c:v>469.00000000000028</c:v>
                </c:pt>
                <c:pt idx="8">
                  <c:v>469.00000000000028</c:v>
                </c:pt>
                <c:pt idx="9">
                  <c:v>469.00000000000028</c:v>
                </c:pt>
                <c:pt idx="10">
                  <c:v>469.00000000000028</c:v>
                </c:pt>
                <c:pt idx="11">
                  <c:v>469.57142857142844</c:v>
                </c:pt>
                <c:pt idx="12">
                  <c:v>469.57142857142844</c:v>
                </c:pt>
                <c:pt idx="13">
                  <c:v>469.57142857142844</c:v>
                </c:pt>
                <c:pt idx="14">
                  <c:v>469.57142857142844</c:v>
                </c:pt>
                <c:pt idx="15">
                  <c:v>469.57142857142844</c:v>
                </c:pt>
                <c:pt idx="16">
                  <c:v>469.57142857142844</c:v>
                </c:pt>
                <c:pt idx="17">
                  <c:v>469.57142857142844</c:v>
                </c:pt>
                <c:pt idx="18">
                  <c:v>471.85714285714283</c:v>
                </c:pt>
                <c:pt idx="19">
                  <c:v>471.85714285714283</c:v>
                </c:pt>
                <c:pt idx="20">
                  <c:v>471.85714285714283</c:v>
                </c:pt>
                <c:pt idx="21">
                  <c:v>471.85714285714283</c:v>
                </c:pt>
                <c:pt idx="22">
                  <c:v>471.85714285714283</c:v>
                </c:pt>
                <c:pt idx="23">
                  <c:v>471.85714285714283</c:v>
                </c:pt>
                <c:pt idx="24">
                  <c:v>471.85714285714283</c:v>
                </c:pt>
                <c:pt idx="25">
                  <c:v>471.28571428571468</c:v>
                </c:pt>
                <c:pt idx="26">
                  <c:v>471.28571428571468</c:v>
                </c:pt>
                <c:pt idx="27">
                  <c:v>471.28571428571468</c:v>
                </c:pt>
                <c:pt idx="28">
                  <c:v>471.28571428571468</c:v>
                </c:pt>
                <c:pt idx="29">
                  <c:v>471.28571428571468</c:v>
                </c:pt>
                <c:pt idx="30">
                  <c:v>471.28571428571468</c:v>
                </c:pt>
                <c:pt idx="31">
                  <c:v>471.28571428571468</c:v>
                </c:pt>
                <c:pt idx="32">
                  <c:v>453.00000000000006</c:v>
                </c:pt>
                <c:pt idx="33">
                  <c:v>453.00000000000006</c:v>
                </c:pt>
                <c:pt idx="34">
                  <c:v>453.00000000000006</c:v>
                </c:pt>
                <c:pt idx="35">
                  <c:v>453.00000000000006</c:v>
                </c:pt>
                <c:pt idx="36">
                  <c:v>453.00000000000006</c:v>
                </c:pt>
                <c:pt idx="37">
                  <c:v>453.00000000000006</c:v>
                </c:pt>
                <c:pt idx="38">
                  <c:v>453.00000000000006</c:v>
                </c:pt>
                <c:pt idx="39">
                  <c:v>448.14285714285705</c:v>
                </c:pt>
                <c:pt idx="40">
                  <c:v>448.14285714285705</c:v>
                </c:pt>
                <c:pt idx="41">
                  <c:v>448.14285714285705</c:v>
                </c:pt>
                <c:pt idx="42">
                  <c:v>448.14285714285705</c:v>
                </c:pt>
                <c:pt idx="43">
                  <c:v>448.14285714285705</c:v>
                </c:pt>
                <c:pt idx="44">
                  <c:v>448.14285714285705</c:v>
                </c:pt>
                <c:pt idx="45">
                  <c:v>448.14285714285705</c:v>
                </c:pt>
                <c:pt idx="46">
                  <c:v>437.14285714285717</c:v>
                </c:pt>
                <c:pt idx="47">
                  <c:v>437.14285714285717</c:v>
                </c:pt>
                <c:pt idx="48">
                  <c:v>437.14285714285717</c:v>
                </c:pt>
                <c:pt idx="49">
                  <c:v>437.14285714285717</c:v>
                </c:pt>
                <c:pt idx="50">
                  <c:v>437.14285714285717</c:v>
                </c:pt>
                <c:pt idx="51">
                  <c:v>437.14285714285717</c:v>
                </c:pt>
                <c:pt idx="52">
                  <c:v>437.14285714285717</c:v>
                </c:pt>
                <c:pt idx="53">
                  <c:v>449.42857142857105</c:v>
                </c:pt>
                <c:pt idx="54">
                  <c:v>449.42857142857105</c:v>
                </c:pt>
                <c:pt idx="55">
                  <c:v>449.42857142857105</c:v>
                </c:pt>
                <c:pt idx="56">
                  <c:v>449.42857142857105</c:v>
                </c:pt>
                <c:pt idx="57">
                  <c:v>449.42857142857105</c:v>
                </c:pt>
                <c:pt idx="58">
                  <c:v>449.42857142857105</c:v>
                </c:pt>
                <c:pt idx="59">
                  <c:v>449.42857142857105</c:v>
                </c:pt>
                <c:pt idx="60">
                  <c:v>434.57142857142924</c:v>
                </c:pt>
                <c:pt idx="61">
                  <c:v>434.57142857142924</c:v>
                </c:pt>
                <c:pt idx="62">
                  <c:v>434.57142857142924</c:v>
                </c:pt>
                <c:pt idx="63">
                  <c:v>434.57142857142924</c:v>
                </c:pt>
                <c:pt idx="64">
                  <c:v>434.57142857142924</c:v>
                </c:pt>
                <c:pt idx="65">
                  <c:v>434.57142857142924</c:v>
                </c:pt>
                <c:pt idx="66">
                  <c:v>434.57142857142924</c:v>
                </c:pt>
                <c:pt idx="67">
                  <c:v>407.28571428571439</c:v>
                </c:pt>
                <c:pt idx="68">
                  <c:v>407.28571428571439</c:v>
                </c:pt>
                <c:pt idx="69">
                  <c:v>407.28571428571439</c:v>
                </c:pt>
                <c:pt idx="70">
                  <c:v>407.28571428571439</c:v>
                </c:pt>
                <c:pt idx="71">
                  <c:v>407.28571428571439</c:v>
                </c:pt>
                <c:pt idx="72">
                  <c:v>407.28571428571439</c:v>
                </c:pt>
                <c:pt idx="73">
                  <c:v>407.28571428571439</c:v>
                </c:pt>
                <c:pt idx="74">
                  <c:v>432.42857142857162</c:v>
                </c:pt>
                <c:pt idx="75">
                  <c:v>432.42857142857162</c:v>
                </c:pt>
                <c:pt idx="76">
                  <c:v>432.42857142857162</c:v>
                </c:pt>
                <c:pt idx="77">
                  <c:v>432.42857142857162</c:v>
                </c:pt>
                <c:pt idx="78">
                  <c:v>432.42857142857162</c:v>
                </c:pt>
                <c:pt idx="79">
                  <c:v>432.42857142857162</c:v>
                </c:pt>
                <c:pt idx="80">
                  <c:v>432.42857142857162</c:v>
                </c:pt>
                <c:pt idx="81">
                  <c:v>445.57142857142895</c:v>
                </c:pt>
                <c:pt idx="82">
                  <c:v>445.57142857142895</c:v>
                </c:pt>
                <c:pt idx="83">
                  <c:v>445.57142857142895</c:v>
                </c:pt>
                <c:pt idx="84">
                  <c:v>445.57142857142895</c:v>
                </c:pt>
                <c:pt idx="85">
                  <c:v>445.57142857142895</c:v>
                </c:pt>
                <c:pt idx="86">
                  <c:v>445.57142857142895</c:v>
                </c:pt>
                <c:pt idx="87">
                  <c:v>445.57142857142895</c:v>
                </c:pt>
                <c:pt idx="88">
                  <c:v>452.14285714285728</c:v>
                </c:pt>
                <c:pt idx="89">
                  <c:v>452.14285714285728</c:v>
                </c:pt>
                <c:pt idx="90">
                  <c:v>452.14285714285728</c:v>
                </c:pt>
                <c:pt idx="91">
                  <c:v>452.14285714285728</c:v>
                </c:pt>
                <c:pt idx="92">
                  <c:v>452.14285714285728</c:v>
                </c:pt>
                <c:pt idx="93">
                  <c:v>452.14285714285728</c:v>
                </c:pt>
                <c:pt idx="94">
                  <c:v>452.14285714285728</c:v>
                </c:pt>
                <c:pt idx="95">
                  <c:v>439.28571428571456</c:v>
                </c:pt>
                <c:pt idx="96">
                  <c:v>439.28571428571456</c:v>
                </c:pt>
                <c:pt idx="97">
                  <c:v>439.28571428571456</c:v>
                </c:pt>
                <c:pt idx="98">
                  <c:v>439.28571428571456</c:v>
                </c:pt>
                <c:pt idx="99">
                  <c:v>439.28571428571456</c:v>
                </c:pt>
                <c:pt idx="100">
                  <c:v>439.28571428571456</c:v>
                </c:pt>
                <c:pt idx="101">
                  <c:v>439.28571428571456</c:v>
                </c:pt>
                <c:pt idx="102">
                  <c:v>445.28571428571433</c:v>
                </c:pt>
                <c:pt idx="103">
                  <c:v>445.28571428571433</c:v>
                </c:pt>
                <c:pt idx="104">
                  <c:v>445.28571428571433</c:v>
                </c:pt>
                <c:pt idx="105">
                  <c:v>445.28571428571433</c:v>
                </c:pt>
                <c:pt idx="106">
                  <c:v>445.28571428571433</c:v>
                </c:pt>
                <c:pt idx="107">
                  <c:v>445.28571428571433</c:v>
                </c:pt>
                <c:pt idx="108">
                  <c:v>445.28571428571433</c:v>
                </c:pt>
                <c:pt idx="109">
                  <c:v>442.57142857142907</c:v>
                </c:pt>
                <c:pt idx="110">
                  <c:v>442.57142857142907</c:v>
                </c:pt>
                <c:pt idx="111">
                  <c:v>442.57142857142907</c:v>
                </c:pt>
                <c:pt idx="112">
                  <c:v>442.57142857142907</c:v>
                </c:pt>
                <c:pt idx="113">
                  <c:v>442.57142857142907</c:v>
                </c:pt>
                <c:pt idx="114">
                  <c:v>442.57142857142907</c:v>
                </c:pt>
                <c:pt idx="115">
                  <c:v>442.57142857142907</c:v>
                </c:pt>
                <c:pt idx="116">
                  <c:v>433.14285714285728</c:v>
                </c:pt>
                <c:pt idx="117">
                  <c:v>433.14285714285728</c:v>
                </c:pt>
                <c:pt idx="118">
                  <c:v>433.14285714285728</c:v>
                </c:pt>
                <c:pt idx="119">
                  <c:v>433.14285714285728</c:v>
                </c:pt>
                <c:pt idx="120">
                  <c:v>433.14285714285728</c:v>
                </c:pt>
                <c:pt idx="121">
                  <c:v>433.14285714285728</c:v>
                </c:pt>
                <c:pt idx="122">
                  <c:v>433.14285714285728</c:v>
                </c:pt>
                <c:pt idx="123">
                  <c:v>364.57142857142827</c:v>
                </c:pt>
                <c:pt idx="124">
                  <c:v>364.57142857142827</c:v>
                </c:pt>
                <c:pt idx="125">
                  <c:v>364.57142857142827</c:v>
                </c:pt>
                <c:pt idx="126">
                  <c:v>364.57142857142827</c:v>
                </c:pt>
                <c:pt idx="127">
                  <c:v>364.57142857142827</c:v>
                </c:pt>
                <c:pt idx="128">
                  <c:v>364.57142857142827</c:v>
                </c:pt>
                <c:pt idx="129">
                  <c:v>364.57142857142827</c:v>
                </c:pt>
                <c:pt idx="130">
                  <c:v>395.99999999999943</c:v>
                </c:pt>
                <c:pt idx="131">
                  <c:v>395.99999999999943</c:v>
                </c:pt>
                <c:pt idx="132">
                  <c:v>395.99999999999943</c:v>
                </c:pt>
                <c:pt idx="133">
                  <c:v>395.99999999999943</c:v>
                </c:pt>
                <c:pt idx="134">
                  <c:v>395.99999999999943</c:v>
                </c:pt>
                <c:pt idx="135">
                  <c:v>395.99999999999943</c:v>
                </c:pt>
                <c:pt idx="136">
                  <c:v>395.99999999999943</c:v>
                </c:pt>
                <c:pt idx="137">
                  <c:v>390.85714285714283</c:v>
                </c:pt>
                <c:pt idx="138">
                  <c:v>390.85714285714283</c:v>
                </c:pt>
                <c:pt idx="139">
                  <c:v>390.85714285714283</c:v>
                </c:pt>
                <c:pt idx="140">
                  <c:v>390.85714285714283</c:v>
                </c:pt>
                <c:pt idx="141">
                  <c:v>390.85714285714283</c:v>
                </c:pt>
                <c:pt idx="142">
                  <c:v>390.85714285714283</c:v>
                </c:pt>
                <c:pt idx="143">
                  <c:v>390.85714285714283</c:v>
                </c:pt>
                <c:pt idx="144">
                  <c:v>376.57142857142833</c:v>
                </c:pt>
                <c:pt idx="145">
                  <c:v>376.57142857142833</c:v>
                </c:pt>
                <c:pt idx="146">
                  <c:v>376.57142857142833</c:v>
                </c:pt>
                <c:pt idx="147">
                  <c:v>376.57142857142833</c:v>
                </c:pt>
                <c:pt idx="148">
                  <c:v>376.57142857142833</c:v>
                </c:pt>
                <c:pt idx="149">
                  <c:v>376.57142857142833</c:v>
                </c:pt>
                <c:pt idx="150">
                  <c:v>376.57142857142833</c:v>
                </c:pt>
                <c:pt idx="151">
                  <c:v>375.42857142857093</c:v>
                </c:pt>
                <c:pt idx="152">
                  <c:v>375.42857142857093</c:v>
                </c:pt>
                <c:pt idx="153">
                  <c:v>375.42857142857093</c:v>
                </c:pt>
                <c:pt idx="154">
                  <c:v>375.42857142857093</c:v>
                </c:pt>
                <c:pt idx="155">
                  <c:v>375.42857142857093</c:v>
                </c:pt>
                <c:pt idx="156">
                  <c:v>375.42857142857093</c:v>
                </c:pt>
                <c:pt idx="157">
                  <c:v>375.42857142857093</c:v>
                </c:pt>
                <c:pt idx="158">
                  <c:v>380.28571428571382</c:v>
                </c:pt>
                <c:pt idx="159">
                  <c:v>380.28571428571382</c:v>
                </c:pt>
                <c:pt idx="160">
                  <c:v>380.28571428571382</c:v>
                </c:pt>
                <c:pt idx="161">
                  <c:v>380.28571428571382</c:v>
                </c:pt>
                <c:pt idx="162">
                  <c:v>380.28571428571382</c:v>
                </c:pt>
                <c:pt idx="163">
                  <c:v>380.28571428571382</c:v>
                </c:pt>
                <c:pt idx="164">
                  <c:v>380.28571428571382</c:v>
                </c:pt>
                <c:pt idx="165">
                  <c:v>374.28571428571468</c:v>
                </c:pt>
                <c:pt idx="166">
                  <c:v>374.28571428571468</c:v>
                </c:pt>
                <c:pt idx="167">
                  <c:v>374.28571428571468</c:v>
                </c:pt>
                <c:pt idx="168">
                  <c:v>374.28571428571468</c:v>
                </c:pt>
                <c:pt idx="169">
                  <c:v>374.28571428571468</c:v>
                </c:pt>
                <c:pt idx="170">
                  <c:v>374.28571428571468</c:v>
                </c:pt>
                <c:pt idx="171">
                  <c:v>374.28571428571468</c:v>
                </c:pt>
                <c:pt idx="172">
                  <c:v>382.57142857142856</c:v>
                </c:pt>
                <c:pt idx="173">
                  <c:v>382.57142857142856</c:v>
                </c:pt>
                <c:pt idx="174">
                  <c:v>382.57142857142856</c:v>
                </c:pt>
                <c:pt idx="175">
                  <c:v>382.57142857142856</c:v>
                </c:pt>
                <c:pt idx="176">
                  <c:v>382.57142857142856</c:v>
                </c:pt>
                <c:pt idx="177">
                  <c:v>382.57142857142856</c:v>
                </c:pt>
                <c:pt idx="178">
                  <c:v>382.57142857142856</c:v>
                </c:pt>
                <c:pt idx="179">
                  <c:v>390.71428571428567</c:v>
                </c:pt>
                <c:pt idx="180">
                  <c:v>390.71428571428567</c:v>
                </c:pt>
                <c:pt idx="181">
                  <c:v>390.71428571428567</c:v>
                </c:pt>
                <c:pt idx="182">
                  <c:v>390.71428571428567</c:v>
                </c:pt>
                <c:pt idx="183">
                  <c:v>390.71428571428567</c:v>
                </c:pt>
                <c:pt idx="184">
                  <c:v>390.71428571428567</c:v>
                </c:pt>
                <c:pt idx="185">
                  <c:v>390.71428571428567</c:v>
                </c:pt>
                <c:pt idx="186">
                  <c:v>402.42857142857167</c:v>
                </c:pt>
                <c:pt idx="187">
                  <c:v>402.42857142857167</c:v>
                </c:pt>
                <c:pt idx="188">
                  <c:v>402.42857142857167</c:v>
                </c:pt>
                <c:pt idx="189">
                  <c:v>402.42857142857167</c:v>
                </c:pt>
                <c:pt idx="190">
                  <c:v>402.42857142857167</c:v>
                </c:pt>
                <c:pt idx="191">
                  <c:v>402.42857142857167</c:v>
                </c:pt>
                <c:pt idx="192">
                  <c:v>402.42857142857167</c:v>
                </c:pt>
                <c:pt idx="193">
                  <c:v>408.57142857142782</c:v>
                </c:pt>
                <c:pt idx="194">
                  <c:v>408.57142857142782</c:v>
                </c:pt>
                <c:pt idx="195">
                  <c:v>408.57142857142782</c:v>
                </c:pt>
                <c:pt idx="196">
                  <c:v>408.57142857142782</c:v>
                </c:pt>
                <c:pt idx="197">
                  <c:v>408.57142857142782</c:v>
                </c:pt>
                <c:pt idx="198">
                  <c:v>408.57142857142782</c:v>
                </c:pt>
                <c:pt idx="199">
                  <c:v>408.57142857142782</c:v>
                </c:pt>
                <c:pt idx="200">
                  <c:v>427.99999999999972</c:v>
                </c:pt>
                <c:pt idx="201">
                  <c:v>427.99999999999972</c:v>
                </c:pt>
                <c:pt idx="202">
                  <c:v>427.99999999999972</c:v>
                </c:pt>
                <c:pt idx="203">
                  <c:v>427.99999999999972</c:v>
                </c:pt>
                <c:pt idx="204">
                  <c:v>427.99999999999972</c:v>
                </c:pt>
                <c:pt idx="205">
                  <c:v>427.99999999999972</c:v>
                </c:pt>
                <c:pt idx="206">
                  <c:v>427.99999999999972</c:v>
                </c:pt>
                <c:pt idx="207">
                  <c:v>442.4285714285715</c:v>
                </c:pt>
                <c:pt idx="208">
                  <c:v>442.4285714285715</c:v>
                </c:pt>
                <c:pt idx="209">
                  <c:v>442.4285714285715</c:v>
                </c:pt>
                <c:pt idx="210">
                  <c:v>442.4285714285715</c:v>
                </c:pt>
                <c:pt idx="211">
                  <c:v>442.4285714285715</c:v>
                </c:pt>
                <c:pt idx="212">
                  <c:v>442.4285714285715</c:v>
                </c:pt>
                <c:pt idx="213">
                  <c:v>442.4285714285715</c:v>
                </c:pt>
                <c:pt idx="214">
                  <c:v>436.85714285714278</c:v>
                </c:pt>
                <c:pt idx="215">
                  <c:v>436.85714285714278</c:v>
                </c:pt>
                <c:pt idx="216">
                  <c:v>436.85714285714278</c:v>
                </c:pt>
                <c:pt idx="217">
                  <c:v>436.85714285714278</c:v>
                </c:pt>
                <c:pt idx="218">
                  <c:v>436.85714285714278</c:v>
                </c:pt>
                <c:pt idx="219">
                  <c:v>436.85714285714278</c:v>
                </c:pt>
                <c:pt idx="220">
                  <c:v>436.85714285714278</c:v>
                </c:pt>
                <c:pt idx="221">
                  <c:v>449.14285714285677</c:v>
                </c:pt>
                <c:pt idx="222">
                  <c:v>449.14285714285677</c:v>
                </c:pt>
                <c:pt idx="223">
                  <c:v>449.14285714285677</c:v>
                </c:pt>
                <c:pt idx="224">
                  <c:v>449.14285714285677</c:v>
                </c:pt>
                <c:pt idx="225">
                  <c:v>449.14285714285677</c:v>
                </c:pt>
                <c:pt idx="226">
                  <c:v>449.14285714285677</c:v>
                </c:pt>
                <c:pt idx="227">
                  <c:v>449.14285714285677</c:v>
                </c:pt>
                <c:pt idx="228">
                  <c:v>444.00000000000028</c:v>
                </c:pt>
                <c:pt idx="229">
                  <c:v>444.00000000000028</c:v>
                </c:pt>
                <c:pt idx="230">
                  <c:v>444.00000000000028</c:v>
                </c:pt>
                <c:pt idx="231">
                  <c:v>444.00000000000028</c:v>
                </c:pt>
                <c:pt idx="232">
                  <c:v>444.00000000000028</c:v>
                </c:pt>
                <c:pt idx="233">
                  <c:v>444.00000000000028</c:v>
                </c:pt>
                <c:pt idx="234">
                  <c:v>444.00000000000028</c:v>
                </c:pt>
                <c:pt idx="235">
                  <c:v>434.4285714285715</c:v>
                </c:pt>
                <c:pt idx="236">
                  <c:v>434.4285714285715</c:v>
                </c:pt>
                <c:pt idx="237">
                  <c:v>434.4285714285715</c:v>
                </c:pt>
                <c:pt idx="238">
                  <c:v>434.4285714285715</c:v>
                </c:pt>
                <c:pt idx="239">
                  <c:v>434.4285714285715</c:v>
                </c:pt>
                <c:pt idx="240">
                  <c:v>434.4285714285715</c:v>
                </c:pt>
                <c:pt idx="241">
                  <c:v>434.4285714285715</c:v>
                </c:pt>
                <c:pt idx="242">
                  <c:v>446.28571428571405</c:v>
                </c:pt>
                <c:pt idx="243">
                  <c:v>446.28571428571405</c:v>
                </c:pt>
                <c:pt idx="244">
                  <c:v>446.28571428571405</c:v>
                </c:pt>
                <c:pt idx="245">
                  <c:v>446.28571428571405</c:v>
                </c:pt>
                <c:pt idx="246">
                  <c:v>446.28571428571405</c:v>
                </c:pt>
                <c:pt idx="247">
                  <c:v>446.28571428571405</c:v>
                </c:pt>
                <c:pt idx="248">
                  <c:v>446.28571428571405</c:v>
                </c:pt>
                <c:pt idx="249">
                  <c:v>454.28571428571439</c:v>
                </c:pt>
                <c:pt idx="250">
                  <c:v>454.28571428571439</c:v>
                </c:pt>
                <c:pt idx="251">
                  <c:v>454.28571428571439</c:v>
                </c:pt>
                <c:pt idx="252">
                  <c:v>454.28571428571439</c:v>
                </c:pt>
                <c:pt idx="253">
                  <c:v>454.28571428571439</c:v>
                </c:pt>
                <c:pt idx="254">
                  <c:v>454.28571428571439</c:v>
                </c:pt>
                <c:pt idx="255">
                  <c:v>454.28571428571439</c:v>
                </c:pt>
                <c:pt idx="256">
                  <c:v>401.71428571428675</c:v>
                </c:pt>
                <c:pt idx="257">
                  <c:v>401.71428571428675</c:v>
                </c:pt>
                <c:pt idx="258">
                  <c:v>401.71428571428675</c:v>
                </c:pt>
                <c:pt idx="259">
                  <c:v>401.71428571428675</c:v>
                </c:pt>
                <c:pt idx="260">
                  <c:v>401.71428571428675</c:v>
                </c:pt>
                <c:pt idx="261">
                  <c:v>401.71428571428675</c:v>
                </c:pt>
                <c:pt idx="262">
                  <c:v>401.71428571428675</c:v>
                </c:pt>
                <c:pt idx="263">
                  <c:v>455.42857142857162</c:v>
                </c:pt>
                <c:pt idx="264">
                  <c:v>455.42857142857162</c:v>
                </c:pt>
                <c:pt idx="265">
                  <c:v>455.42857142857162</c:v>
                </c:pt>
                <c:pt idx="266">
                  <c:v>455.42857142857162</c:v>
                </c:pt>
                <c:pt idx="267">
                  <c:v>455.42857142857162</c:v>
                </c:pt>
                <c:pt idx="268">
                  <c:v>455.42857142857162</c:v>
                </c:pt>
                <c:pt idx="269">
                  <c:v>455.42857142857162</c:v>
                </c:pt>
                <c:pt idx="270">
                  <c:v>455.57142857142935</c:v>
                </c:pt>
                <c:pt idx="271">
                  <c:v>455.57142857142935</c:v>
                </c:pt>
                <c:pt idx="272">
                  <c:v>455.57142857142935</c:v>
                </c:pt>
                <c:pt idx="273">
                  <c:v>455.57142857142935</c:v>
                </c:pt>
                <c:pt idx="274">
                  <c:v>455.57142857142935</c:v>
                </c:pt>
                <c:pt idx="275">
                  <c:v>455.57142857142935</c:v>
                </c:pt>
                <c:pt idx="276">
                  <c:v>455.57142857142935</c:v>
                </c:pt>
                <c:pt idx="277">
                  <c:v>440.99999999999955</c:v>
                </c:pt>
                <c:pt idx="278">
                  <c:v>440.99999999999955</c:v>
                </c:pt>
                <c:pt idx="279">
                  <c:v>440.99999999999955</c:v>
                </c:pt>
                <c:pt idx="280">
                  <c:v>440.99999999999955</c:v>
                </c:pt>
                <c:pt idx="281">
                  <c:v>440.99999999999955</c:v>
                </c:pt>
                <c:pt idx="282">
                  <c:v>440.99999999999955</c:v>
                </c:pt>
                <c:pt idx="283">
                  <c:v>440.99999999999955</c:v>
                </c:pt>
                <c:pt idx="284">
                  <c:v>422.57142857142856</c:v>
                </c:pt>
                <c:pt idx="285">
                  <c:v>422.57142857142856</c:v>
                </c:pt>
                <c:pt idx="286">
                  <c:v>422.57142857142856</c:v>
                </c:pt>
                <c:pt idx="287">
                  <c:v>422.57142857142856</c:v>
                </c:pt>
                <c:pt idx="288">
                  <c:v>422.57142857142856</c:v>
                </c:pt>
                <c:pt idx="289">
                  <c:v>422.57142857142856</c:v>
                </c:pt>
                <c:pt idx="290">
                  <c:v>422.57142857142856</c:v>
                </c:pt>
                <c:pt idx="291">
                  <c:v>422.14285714285785</c:v>
                </c:pt>
                <c:pt idx="292">
                  <c:v>422.14285714285785</c:v>
                </c:pt>
                <c:pt idx="293">
                  <c:v>422.14285714285785</c:v>
                </c:pt>
                <c:pt idx="294">
                  <c:v>422.14285714285785</c:v>
                </c:pt>
                <c:pt idx="295">
                  <c:v>422.14285714285785</c:v>
                </c:pt>
                <c:pt idx="296">
                  <c:v>422.14285714285785</c:v>
                </c:pt>
                <c:pt idx="297">
                  <c:v>422.14285714285785</c:v>
                </c:pt>
                <c:pt idx="298">
                  <c:v>378.57142857142884</c:v>
                </c:pt>
                <c:pt idx="299">
                  <c:v>378.57142857142884</c:v>
                </c:pt>
                <c:pt idx="300">
                  <c:v>378.57142857142884</c:v>
                </c:pt>
                <c:pt idx="301">
                  <c:v>378.57142857142884</c:v>
                </c:pt>
                <c:pt idx="302">
                  <c:v>378.57142857142884</c:v>
                </c:pt>
                <c:pt idx="303">
                  <c:v>378.57142857142884</c:v>
                </c:pt>
                <c:pt idx="304">
                  <c:v>378.57142857142884</c:v>
                </c:pt>
                <c:pt idx="305">
                  <c:v>378.57142857142884</c:v>
                </c:pt>
                <c:pt idx="306">
                  <c:v>390.14285714285643</c:v>
                </c:pt>
                <c:pt idx="307">
                  <c:v>390.14285714285643</c:v>
                </c:pt>
                <c:pt idx="308">
                  <c:v>390.14285714285643</c:v>
                </c:pt>
                <c:pt idx="309">
                  <c:v>390.14285714285643</c:v>
                </c:pt>
                <c:pt idx="310">
                  <c:v>390.14285714285643</c:v>
                </c:pt>
                <c:pt idx="311">
                  <c:v>390.14285714285643</c:v>
                </c:pt>
                <c:pt idx="312">
                  <c:v>390.14285714285643</c:v>
                </c:pt>
                <c:pt idx="313">
                  <c:v>455.14285714285734</c:v>
                </c:pt>
                <c:pt idx="314">
                  <c:v>455.14285714285734</c:v>
                </c:pt>
                <c:pt idx="315">
                  <c:v>455.14285714285734</c:v>
                </c:pt>
                <c:pt idx="316">
                  <c:v>455.14285714285734</c:v>
                </c:pt>
                <c:pt idx="317">
                  <c:v>455.14285714285734</c:v>
                </c:pt>
                <c:pt idx="318">
                  <c:v>455.14285714285734</c:v>
                </c:pt>
                <c:pt idx="319">
                  <c:v>455.14285714285734</c:v>
                </c:pt>
                <c:pt idx="320">
                  <c:v>487.71428571428498</c:v>
                </c:pt>
                <c:pt idx="321">
                  <c:v>487.71428571428498</c:v>
                </c:pt>
                <c:pt idx="322">
                  <c:v>487.71428571428498</c:v>
                </c:pt>
                <c:pt idx="323">
                  <c:v>487.71428571428498</c:v>
                </c:pt>
                <c:pt idx="324">
                  <c:v>487.71428571428498</c:v>
                </c:pt>
                <c:pt idx="325">
                  <c:v>487.71428571428498</c:v>
                </c:pt>
                <c:pt idx="326">
                  <c:v>487.71428571428498</c:v>
                </c:pt>
                <c:pt idx="327">
                  <c:v>493.85714285714278</c:v>
                </c:pt>
                <c:pt idx="328">
                  <c:v>493.85714285714278</c:v>
                </c:pt>
                <c:pt idx="329">
                  <c:v>493.85714285714278</c:v>
                </c:pt>
                <c:pt idx="330">
                  <c:v>493.85714285714278</c:v>
                </c:pt>
                <c:pt idx="331">
                  <c:v>493.85714285714278</c:v>
                </c:pt>
                <c:pt idx="332">
                  <c:v>493.85714285714278</c:v>
                </c:pt>
                <c:pt idx="333">
                  <c:v>493.85714285714278</c:v>
                </c:pt>
                <c:pt idx="334">
                  <c:v>473.85714285714226</c:v>
                </c:pt>
                <c:pt idx="335">
                  <c:v>473.85714285714226</c:v>
                </c:pt>
                <c:pt idx="336">
                  <c:v>473.85714285714226</c:v>
                </c:pt>
                <c:pt idx="337">
                  <c:v>473.85714285714226</c:v>
                </c:pt>
                <c:pt idx="338">
                  <c:v>473.85714285714226</c:v>
                </c:pt>
                <c:pt idx="339">
                  <c:v>473.85714285714226</c:v>
                </c:pt>
                <c:pt idx="340">
                  <c:v>473.85714285714226</c:v>
                </c:pt>
                <c:pt idx="341">
                  <c:v>472.28571428571439</c:v>
                </c:pt>
                <c:pt idx="342">
                  <c:v>472.28571428571439</c:v>
                </c:pt>
                <c:pt idx="343">
                  <c:v>472.28571428571439</c:v>
                </c:pt>
                <c:pt idx="344">
                  <c:v>472.28571428571439</c:v>
                </c:pt>
                <c:pt idx="345">
                  <c:v>472.28571428571439</c:v>
                </c:pt>
                <c:pt idx="346">
                  <c:v>472.28571428571439</c:v>
                </c:pt>
                <c:pt idx="347">
                  <c:v>472.28571428571439</c:v>
                </c:pt>
                <c:pt idx="348">
                  <c:v>491.5714285714289</c:v>
                </c:pt>
                <c:pt idx="349">
                  <c:v>491.5714285714289</c:v>
                </c:pt>
                <c:pt idx="350">
                  <c:v>491.5714285714289</c:v>
                </c:pt>
                <c:pt idx="351">
                  <c:v>491.5714285714289</c:v>
                </c:pt>
                <c:pt idx="352">
                  <c:v>491.5714285714289</c:v>
                </c:pt>
                <c:pt idx="353">
                  <c:v>491.5714285714289</c:v>
                </c:pt>
                <c:pt idx="354">
                  <c:v>491.5714285714289</c:v>
                </c:pt>
                <c:pt idx="355">
                  <c:v>496.57142857142838</c:v>
                </c:pt>
                <c:pt idx="356">
                  <c:v>496.57142857142838</c:v>
                </c:pt>
                <c:pt idx="357">
                  <c:v>496.57142857142838</c:v>
                </c:pt>
                <c:pt idx="358">
                  <c:v>496.57142857142838</c:v>
                </c:pt>
                <c:pt idx="359">
                  <c:v>496.57142857142838</c:v>
                </c:pt>
                <c:pt idx="360">
                  <c:v>496.57142857142838</c:v>
                </c:pt>
                <c:pt idx="361">
                  <c:v>496.57142857142838</c:v>
                </c:pt>
                <c:pt idx="362">
                  <c:v>503.71428571428567</c:v>
                </c:pt>
                <c:pt idx="363">
                  <c:v>503.71428571428567</c:v>
                </c:pt>
                <c:pt idx="364">
                  <c:v>503.71428571428567</c:v>
                </c:pt>
                <c:pt idx="365">
                  <c:v>503.71428571428567</c:v>
                </c:pt>
                <c:pt idx="366">
                  <c:v>503.71428571428567</c:v>
                </c:pt>
                <c:pt idx="367">
                  <c:v>503.71428571428567</c:v>
                </c:pt>
                <c:pt idx="368">
                  <c:v>503.71428571428567</c:v>
                </c:pt>
                <c:pt idx="369">
                  <c:v>469.00000000000028</c:v>
                </c:pt>
                <c:pt idx="370">
                  <c:v>469.00000000000028</c:v>
                </c:pt>
                <c:pt idx="371">
                  <c:v>469.00000000000028</c:v>
                </c:pt>
                <c:pt idx="372">
                  <c:v>469.00000000000028</c:v>
                </c:pt>
                <c:pt idx="373">
                  <c:v>469.00000000000028</c:v>
                </c:pt>
                <c:pt idx="374">
                  <c:v>469.00000000000028</c:v>
                </c:pt>
                <c:pt idx="375">
                  <c:v>469.00000000000028</c:v>
                </c:pt>
                <c:pt idx="376">
                  <c:v>469.57142857142844</c:v>
                </c:pt>
                <c:pt idx="377">
                  <c:v>469.57142857142844</c:v>
                </c:pt>
                <c:pt idx="378">
                  <c:v>469.57142857142844</c:v>
                </c:pt>
                <c:pt idx="379">
                  <c:v>469.57142857142844</c:v>
                </c:pt>
                <c:pt idx="380">
                  <c:v>469.57142857142844</c:v>
                </c:pt>
                <c:pt idx="381">
                  <c:v>469.57142857142844</c:v>
                </c:pt>
                <c:pt idx="382">
                  <c:v>469.57142857142844</c:v>
                </c:pt>
                <c:pt idx="383">
                  <c:v>471.85714285714283</c:v>
                </c:pt>
                <c:pt idx="384">
                  <c:v>471.85714285714283</c:v>
                </c:pt>
                <c:pt idx="385">
                  <c:v>471.85714285714283</c:v>
                </c:pt>
                <c:pt idx="386">
                  <c:v>471.85714285714283</c:v>
                </c:pt>
                <c:pt idx="387">
                  <c:v>471.85714285714283</c:v>
                </c:pt>
                <c:pt idx="388">
                  <c:v>471.85714285714283</c:v>
                </c:pt>
                <c:pt idx="389">
                  <c:v>471.85714285714283</c:v>
                </c:pt>
                <c:pt idx="390">
                  <c:v>471.28571428571468</c:v>
                </c:pt>
                <c:pt idx="391">
                  <c:v>471.28571428571468</c:v>
                </c:pt>
                <c:pt idx="392">
                  <c:v>471.28571428571468</c:v>
                </c:pt>
                <c:pt idx="393">
                  <c:v>471.28571428571468</c:v>
                </c:pt>
                <c:pt idx="394">
                  <c:v>471.28571428571468</c:v>
                </c:pt>
                <c:pt idx="395">
                  <c:v>471.28571428571468</c:v>
                </c:pt>
                <c:pt idx="396">
                  <c:v>471.28571428571468</c:v>
                </c:pt>
                <c:pt idx="397">
                  <c:v>453.00000000000006</c:v>
                </c:pt>
                <c:pt idx="398">
                  <c:v>453.00000000000006</c:v>
                </c:pt>
                <c:pt idx="399">
                  <c:v>453.00000000000006</c:v>
                </c:pt>
                <c:pt idx="400">
                  <c:v>453.00000000000006</c:v>
                </c:pt>
                <c:pt idx="401">
                  <c:v>453.00000000000006</c:v>
                </c:pt>
                <c:pt idx="402">
                  <c:v>453.00000000000006</c:v>
                </c:pt>
                <c:pt idx="403">
                  <c:v>453.00000000000006</c:v>
                </c:pt>
                <c:pt idx="404">
                  <c:v>448.14285714285705</c:v>
                </c:pt>
                <c:pt idx="405">
                  <c:v>448.14285714285705</c:v>
                </c:pt>
                <c:pt idx="406">
                  <c:v>448.14285714285705</c:v>
                </c:pt>
                <c:pt idx="407">
                  <c:v>448.14285714285705</c:v>
                </c:pt>
                <c:pt idx="408">
                  <c:v>448.14285714285705</c:v>
                </c:pt>
                <c:pt idx="409">
                  <c:v>448.14285714285705</c:v>
                </c:pt>
                <c:pt idx="410">
                  <c:v>448.14285714285705</c:v>
                </c:pt>
                <c:pt idx="411">
                  <c:v>437.14285714285717</c:v>
                </c:pt>
                <c:pt idx="412">
                  <c:v>437.14285714285717</c:v>
                </c:pt>
                <c:pt idx="413">
                  <c:v>437.14285714285717</c:v>
                </c:pt>
                <c:pt idx="414">
                  <c:v>437.14285714285717</c:v>
                </c:pt>
                <c:pt idx="415">
                  <c:v>437.14285714285717</c:v>
                </c:pt>
                <c:pt idx="416">
                  <c:v>437.14285714285717</c:v>
                </c:pt>
                <c:pt idx="417">
                  <c:v>437.14285714285717</c:v>
                </c:pt>
                <c:pt idx="418">
                  <c:v>449.42857142857105</c:v>
                </c:pt>
                <c:pt idx="419">
                  <c:v>449.42857142857105</c:v>
                </c:pt>
                <c:pt idx="420">
                  <c:v>449.42857142857105</c:v>
                </c:pt>
                <c:pt idx="421">
                  <c:v>449.42857142857105</c:v>
                </c:pt>
                <c:pt idx="422">
                  <c:v>449.42857142857105</c:v>
                </c:pt>
                <c:pt idx="423">
                  <c:v>449.42857142857105</c:v>
                </c:pt>
                <c:pt idx="424">
                  <c:v>449.42857142857105</c:v>
                </c:pt>
                <c:pt idx="425">
                  <c:v>434.57142857142924</c:v>
                </c:pt>
                <c:pt idx="426">
                  <c:v>434.57142857142924</c:v>
                </c:pt>
                <c:pt idx="427">
                  <c:v>434.57142857142924</c:v>
                </c:pt>
                <c:pt idx="428">
                  <c:v>434.57142857142924</c:v>
                </c:pt>
                <c:pt idx="429">
                  <c:v>434.57142857142924</c:v>
                </c:pt>
                <c:pt idx="430">
                  <c:v>434.57142857142924</c:v>
                </c:pt>
                <c:pt idx="431">
                  <c:v>434.57142857142924</c:v>
                </c:pt>
                <c:pt idx="432">
                  <c:v>407.28571428571439</c:v>
                </c:pt>
                <c:pt idx="433">
                  <c:v>407.28571428571439</c:v>
                </c:pt>
                <c:pt idx="434">
                  <c:v>407.28571428571439</c:v>
                </c:pt>
                <c:pt idx="435">
                  <c:v>407.28571428571439</c:v>
                </c:pt>
                <c:pt idx="436">
                  <c:v>407.28571428571439</c:v>
                </c:pt>
                <c:pt idx="437">
                  <c:v>407.28571428571439</c:v>
                </c:pt>
                <c:pt idx="438">
                  <c:v>407.28571428571439</c:v>
                </c:pt>
                <c:pt idx="439">
                  <c:v>432.42857142857162</c:v>
                </c:pt>
                <c:pt idx="440">
                  <c:v>432.42857142857162</c:v>
                </c:pt>
                <c:pt idx="441">
                  <c:v>432.42857142857162</c:v>
                </c:pt>
                <c:pt idx="442">
                  <c:v>432.42857142857162</c:v>
                </c:pt>
                <c:pt idx="443">
                  <c:v>432.42857142857162</c:v>
                </c:pt>
                <c:pt idx="444">
                  <c:v>432.42857142857162</c:v>
                </c:pt>
                <c:pt idx="445">
                  <c:v>432.42857142857162</c:v>
                </c:pt>
                <c:pt idx="446">
                  <c:v>445.57142857142895</c:v>
                </c:pt>
                <c:pt idx="447">
                  <c:v>445.57142857142895</c:v>
                </c:pt>
                <c:pt idx="448">
                  <c:v>445.57142857142895</c:v>
                </c:pt>
                <c:pt idx="449">
                  <c:v>445.57142857142895</c:v>
                </c:pt>
                <c:pt idx="450">
                  <c:v>445.57142857142895</c:v>
                </c:pt>
                <c:pt idx="451">
                  <c:v>445.57142857142895</c:v>
                </c:pt>
                <c:pt idx="452">
                  <c:v>445.57142857142895</c:v>
                </c:pt>
                <c:pt idx="453">
                  <c:v>452.14285714285728</c:v>
                </c:pt>
                <c:pt idx="454">
                  <c:v>452.14285714285728</c:v>
                </c:pt>
                <c:pt idx="455">
                  <c:v>452.14285714285728</c:v>
                </c:pt>
                <c:pt idx="456">
                  <c:v>452.14285714285728</c:v>
                </c:pt>
                <c:pt idx="457">
                  <c:v>452.14285714285728</c:v>
                </c:pt>
                <c:pt idx="458">
                  <c:v>452.14285714285728</c:v>
                </c:pt>
                <c:pt idx="459">
                  <c:v>452.14285714285728</c:v>
                </c:pt>
                <c:pt idx="460">
                  <c:v>439.28571428571456</c:v>
                </c:pt>
                <c:pt idx="461">
                  <c:v>439.28571428571456</c:v>
                </c:pt>
                <c:pt idx="462">
                  <c:v>439.28571428571456</c:v>
                </c:pt>
                <c:pt idx="463">
                  <c:v>439.28571428571456</c:v>
                </c:pt>
                <c:pt idx="464">
                  <c:v>439.28571428571456</c:v>
                </c:pt>
                <c:pt idx="465">
                  <c:v>439.28571428571456</c:v>
                </c:pt>
                <c:pt idx="466">
                  <c:v>439.28571428571456</c:v>
                </c:pt>
                <c:pt idx="467">
                  <c:v>445.28571428571433</c:v>
                </c:pt>
                <c:pt idx="468">
                  <c:v>445.28571428571433</c:v>
                </c:pt>
                <c:pt idx="469">
                  <c:v>445.28571428571433</c:v>
                </c:pt>
                <c:pt idx="470">
                  <c:v>445.28571428571433</c:v>
                </c:pt>
                <c:pt idx="471">
                  <c:v>445.28571428571433</c:v>
                </c:pt>
                <c:pt idx="472">
                  <c:v>445.28571428571433</c:v>
                </c:pt>
                <c:pt idx="473">
                  <c:v>445.28571428571433</c:v>
                </c:pt>
                <c:pt idx="474">
                  <c:v>442.57142857142907</c:v>
                </c:pt>
                <c:pt idx="475">
                  <c:v>442.57142857142907</c:v>
                </c:pt>
                <c:pt idx="476">
                  <c:v>442.57142857142907</c:v>
                </c:pt>
                <c:pt idx="477">
                  <c:v>442.57142857142907</c:v>
                </c:pt>
                <c:pt idx="478">
                  <c:v>442.57142857142907</c:v>
                </c:pt>
                <c:pt idx="479">
                  <c:v>442.57142857142907</c:v>
                </c:pt>
                <c:pt idx="480">
                  <c:v>442.57142857142907</c:v>
                </c:pt>
                <c:pt idx="481">
                  <c:v>433.14285714285728</c:v>
                </c:pt>
                <c:pt idx="482">
                  <c:v>433.14285714285728</c:v>
                </c:pt>
                <c:pt idx="483">
                  <c:v>433.14285714285728</c:v>
                </c:pt>
                <c:pt idx="484">
                  <c:v>433.14285714285728</c:v>
                </c:pt>
                <c:pt idx="485">
                  <c:v>433.14285714285728</c:v>
                </c:pt>
                <c:pt idx="486">
                  <c:v>433.14285714285728</c:v>
                </c:pt>
                <c:pt idx="487">
                  <c:v>433.14285714285728</c:v>
                </c:pt>
                <c:pt idx="488">
                  <c:v>364.57142857142827</c:v>
                </c:pt>
                <c:pt idx="489">
                  <c:v>364.57142857142827</c:v>
                </c:pt>
                <c:pt idx="490">
                  <c:v>364.57142857142827</c:v>
                </c:pt>
                <c:pt idx="491">
                  <c:v>364.57142857142827</c:v>
                </c:pt>
                <c:pt idx="492">
                  <c:v>364.57142857142827</c:v>
                </c:pt>
                <c:pt idx="493">
                  <c:v>364.57142857142827</c:v>
                </c:pt>
                <c:pt idx="494">
                  <c:v>364.57142857142827</c:v>
                </c:pt>
                <c:pt idx="495">
                  <c:v>395.99999999999943</c:v>
                </c:pt>
                <c:pt idx="496">
                  <c:v>395.99999999999943</c:v>
                </c:pt>
                <c:pt idx="497">
                  <c:v>395.99999999999943</c:v>
                </c:pt>
                <c:pt idx="498">
                  <c:v>395.99999999999943</c:v>
                </c:pt>
                <c:pt idx="499">
                  <c:v>395.99999999999943</c:v>
                </c:pt>
                <c:pt idx="500">
                  <c:v>395.99999999999943</c:v>
                </c:pt>
                <c:pt idx="501">
                  <c:v>395.99999999999943</c:v>
                </c:pt>
                <c:pt idx="502">
                  <c:v>390.85714285714283</c:v>
                </c:pt>
                <c:pt idx="503">
                  <c:v>390.85714285714283</c:v>
                </c:pt>
                <c:pt idx="504">
                  <c:v>390.85714285714283</c:v>
                </c:pt>
                <c:pt idx="505">
                  <c:v>390.85714285714283</c:v>
                </c:pt>
                <c:pt idx="506">
                  <c:v>390.85714285714283</c:v>
                </c:pt>
                <c:pt idx="507">
                  <c:v>390.85714285714283</c:v>
                </c:pt>
                <c:pt idx="508">
                  <c:v>390.85714285714283</c:v>
                </c:pt>
                <c:pt idx="509">
                  <c:v>376.57142857142833</c:v>
                </c:pt>
                <c:pt idx="510">
                  <c:v>376.57142857142833</c:v>
                </c:pt>
                <c:pt idx="511">
                  <c:v>376.57142857142833</c:v>
                </c:pt>
                <c:pt idx="512">
                  <c:v>376.57142857142833</c:v>
                </c:pt>
                <c:pt idx="513">
                  <c:v>376.57142857142833</c:v>
                </c:pt>
                <c:pt idx="514">
                  <c:v>376.57142857142833</c:v>
                </c:pt>
                <c:pt idx="515">
                  <c:v>376.57142857142833</c:v>
                </c:pt>
                <c:pt idx="516">
                  <c:v>375.42857142857093</c:v>
                </c:pt>
                <c:pt idx="517">
                  <c:v>375.42857142857093</c:v>
                </c:pt>
                <c:pt idx="518">
                  <c:v>375.42857142857093</c:v>
                </c:pt>
                <c:pt idx="519">
                  <c:v>375.42857142857093</c:v>
                </c:pt>
                <c:pt idx="520">
                  <c:v>375.42857142857093</c:v>
                </c:pt>
                <c:pt idx="521">
                  <c:v>375.42857142857093</c:v>
                </c:pt>
                <c:pt idx="522">
                  <c:v>375.42857142857093</c:v>
                </c:pt>
                <c:pt idx="523">
                  <c:v>380.28571428571382</c:v>
                </c:pt>
                <c:pt idx="524">
                  <c:v>380.28571428571382</c:v>
                </c:pt>
                <c:pt idx="525">
                  <c:v>380.28571428571382</c:v>
                </c:pt>
                <c:pt idx="526">
                  <c:v>380.28571428571382</c:v>
                </c:pt>
                <c:pt idx="527">
                  <c:v>380.28571428571382</c:v>
                </c:pt>
                <c:pt idx="528">
                  <c:v>380.28571428571382</c:v>
                </c:pt>
                <c:pt idx="529">
                  <c:v>380.28571428571382</c:v>
                </c:pt>
                <c:pt idx="530">
                  <c:v>374.28571428571468</c:v>
                </c:pt>
                <c:pt idx="531">
                  <c:v>374.28571428571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00C-4D9E-877E-BAA6BF3C05B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3</c:v>
                </c:pt>
              </c:strCache>
            </c:strRef>
          </c:tx>
          <c:spPr>
            <a:ln w="9525" cap="rnd">
              <a:solidFill>
                <a:srgbClr val="000000">
                  <a:lumMod val="65000"/>
                  <a:lumOff val="3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533</c:f>
              <c:numCache>
                <c:formatCode>m/d/yyyy</c:formatCode>
                <c:ptCount val="532"/>
                <c:pt idx="0">
                  <c:v>43891</c:v>
                </c:pt>
                <c:pt idx="1">
                  <c:v>43892</c:v>
                </c:pt>
                <c:pt idx="2">
                  <c:v>43893</c:v>
                </c:pt>
                <c:pt idx="3">
                  <c:v>43894</c:v>
                </c:pt>
                <c:pt idx="4">
                  <c:v>43895</c:v>
                </c:pt>
                <c:pt idx="5">
                  <c:v>43896</c:v>
                </c:pt>
                <c:pt idx="6">
                  <c:v>43897</c:v>
                </c:pt>
                <c:pt idx="7">
                  <c:v>43898</c:v>
                </c:pt>
                <c:pt idx="8">
                  <c:v>43899</c:v>
                </c:pt>
                <c:pt idx="9">
                  <c:v>43900</c:v>
                </c:pt>
                <c:pt idx="10">
                  <c:v>43901</c:v>
                </c:pt>
                <c:pt idx="11">
                  <c:v>43902</c:v>
                </c:pt>
                <c:pt idx="12">
                  <c:v>43903</c:v>
                </c:pt>
                <c:pt idx="13">
                  <c:v>43904</c:v>
                </c:pt>
                <c:pt idx="14">
                  <c:v>43905</c:v>
                </c:pt>
                <c:pt idx="15">
                  <c:v>43906</c:v>
                </c:pt>
                <c:pt idx="16">
                  <c:v>43907</c:v>
                </c:pt>
                <c:pt idx="17">
                  <c:v>43908</c:v>
                </c:pt>
                <c:pt idx="18">
                  <c:v>43909</c:v>
                </c:pt>
                <c:pt idx="19">
                  <c:v>43910</c:v>
                </c:pt>
                <c:pt idx="20">
                  <c:v>43911</c:v>
                </c:pt>
                <c:pt idx="21">
                  <c:v>43912</c:v>
                </c:pt>
                <c:pt idx="22">
                  <c:v>43913</c:v>
                </c:pt>
                <c:pt idx="23">
                  <c:v>43914</c:v>
                </c:pt>
                <c:pt idx="24">
                  <c:v>43915</c:v>
                </c:pt>
                <c:pt idx="25">
                  <c:v>43916</c:v>
                </c:pt>
                <c:pt idx="26">
                  <c:v>43917</c:v>
                </c:pt>
                <c:pt idx="27">
                  <c:v>43918</c:v>
                </c:pt>
                <c:pt idx="28">
                  <c:v>43919</c:v>
                </c:pt>
                <c:pt idx="29">
                  <c:v>43920</c:v>
                </c:pt>
                <c:pt idx="30">
                  <c:v>43921</c:v>
                </c:pt>
                <c:pt idx="31">
                  <c:v>43922</c:v>
                </c:pt>
                <c:pt idx="32">
                  <c:v>43923</c:v>
                </c:pt>
                <c:pt idx="33">
                  <c:v>43924</c:v>
                </c:pt>
                <c:pt idx="34">
                  <c:v>43925</c:v>
                </c:pt>
                <c:pt idx="35">
                  <c:v>43926</c:v>
                </c:pt>
                <c:pt idx="36">
                  <c:v>43927</c:v>
                </c:pt>
                <c:pt idx="37">
                  <c:v>43928</c:v>
                </c:pt>
                <c:pt idx="38">
                  <c:v>43929</c:v>
                </c:pt>
                <c:pt idx="39">
                  <c:v>43930</c:v>
                </c:pt>
                <c:pt idx="40">
                  <c:v>43931</c:v>
                </c:pt>
                <c:pt idx="41">
                  <c:v>43932</c:v>
                </c:pt>
                <c:pt idx="42">
                  <c:v>43933</c:v>
                </c:pt>
                <c:pt idx="43">
                  <c:v>43934</c:v>
                </c:pt>
                <c:pt idx="44">
                  <c:v>43935</c:v>
                </c:pt>
                <c:pt idx="45">
                  <c:v>43936</c:v>
                </c:pt>
                <c:pt idx="46">
                  <c:v>43937</c:v>
                </c:pt>
                <c:pt idx="47">
                  <c:v>43938</c:v>
                </c:pt>
                <c:pt idx="48">
                  <c:v>43939</c:v>
                </c:pt>
                <c:pt idx="49">
                  <c:v>43940</c:v>
                </c:pt>
                <c:pt idx="50">
                  <c:v>43941</c:v>
                </c:pt>
                <c:pt idx="51">
                  <c:v>43942</c:v>
                </c:pt>
                <c:pt idx="52">
                  <c:v>43943</c:v>
                </c:pt>
                <c:pt idx="53">
                  <c:v>43944</c:v>
                </c:pt>
                <c:pt idx="54">
                  <c:v>43945</c:v>
                </c:pt>
                <c:pt idx="55">
                  <c:v>43946</c:v>
                </c:pt>
                <c:pt idx="56">
                  <c:v>43947</c:v>
                </c:pt>
                <c:pt idx="57">
                  <c:v>43948</c:v>
                </c:pt>
                <c:pt idx="58">
                  <c:v>43949</c:v>
                </c:pt>
                <c:pt idx="59">
                  <c:v>43950</c:v>
                </c:pt>
                <c:pt idx="60">
                  <c:v>43951</c:v>
                </c:pt>
                <c:pt idx="61">
                  <c:v>43952</c:v>
                </c:pt>
                <c:pt idx="62">
                  <c:v>43953</c:v>
                </c:pt>
                <c:pt idx="63">
                  <c:v>43954</c:v>
                </c:pt>
                <c:pt idx="64">
                  <c:v>43955</c:v>
                </c:pt>
                <c:pt idx="65">
                  <c:v>43956</c:v>
                </c:pt>
                <c:pt idx="66">
                  <c:v>43957</c:v>
                </c:pt>
                <c:pt idx="67">
                  <c:v>43958</c:v>
                </c:pt>
                <c:pt idx="68">
                  <c:v>43959</c:v>
                </c:pt>
                <c:pt idx="69">
                  <c:v>43960</c:v>
                </c:pt>
                <c:pt idx="70">
                  <c:v>43961</c:v>
                </c:pt>
                <c:pt idx="71">
                  <c:v>43962</c:v>
                </c:pt>
                <c:pt idx="72">
                  <c:v>43963</c:v>
                </c:pt>
                <c:pt idx="73">
                  <c:v>43964</c:v>
                </c:pt>
                <c:pt idx="74">
                  <c:v>43965</c:v>
                </c:pt>
                <c:pt idx="75">
                  <c:v>43966</c:v>
                </c:pt>
                <c:pt idx="76">
                  <c:v>43967</c:v>
                </c:pt>
                <c:pt idx="77">
                  <c:v>43968</c:v>
                </c:pt>
                <c:pt idx="78">
                  <c:v>43969</c:v>
                </c:pt>
                <c:pt idx="79">
                  <c:v>43970</c:v>
                </c:pt>
                <c:pt idx="80">
                  <c:v>43971</c:v>
                </c:pt>
                <c:pt idx="81">
                  <c:v>43972</c:v>
                </c:pt>
                <c:pt idx="82">
                  <c:v>43973</c:v>
                </c:pt>
                <c:pt idx="83">
                  <c:v>43974</c:v>
                </c:pt>
                <c:pt idx="84">
                  <c:v>43975</c:v>
                </c:pt>
                <c:pt idx="85">
                  <c:v>43976</c:v>
                </c:pt>
                <c:pt idx="86">
                  <c:v>43977</c:v>
                </c:pt>
                <c:pt idx="87">
                  <c:v>43978</c:v>
                </c:pt>
                <c:pt idx="88">
                  <c:v>43979</c:v>
                </c:pt>
                <c:pt idx="89">
                  <c:v>43980</c:v>
                </c:pt>
                <c:pt idx="90">
                  <c:v>43981</c:v>
                </c:pt>
                <c:pt idx="91">
                  <c:v>43982</c:v>
                </c:pt>
                <c:pt idx="92">
                  <c:v>43983</c:v>
                </c:pt>
                <c:pt idx="93">
                  <c:v>43984</c:v>
                </c:pt>
                <c:pt idx="94">
                  <c:v>43985</c:v>
                </c:pt>
                <c:pt idx="95">
                  <c:v>43986</c:v>
                </c:pt>
                <c:pt idx="96">
                  <c:v>43987</c:v>
                </c:pt>
                <c:pt idx="97">
                  <c:v>43988</c:v>
                </c:pt>
                <c:pt idx="98">
                  <c:v>43989</c:v>
                </c:pt>
                <c:pt idx="99">
                  <c:v>43990</c:v>
                </c:pt>
                <c:pt idx="100">
                  <c:v>43991</c:v>
                </c:pt>
                <c:pt idx="101">
                  <c:v>43992</c:v>
                </c:pt>
                <c:pt idx="102">
                  <c:v>43993</c:v>
                </c:pt>
                <c:pt idx="103">
                  <c:v>43994</c:v>
                </c:pt>
                <c:pt idx="104">
                  <c:v>43995</c:v>
                </c:pt>
                <c:pt idx="105">
                  <c:v>43996</c:v>
                </c:pt>
                <c:pt idx="106">
                  <c:v>43997</c:v>
                </c:pt>
                <c:pt idx="107">
                  <c:v>43998</c:v>
                </c:pt>
                <c:pt idx="108">
                  <c:v>43999</c:v>
                </c:pt>
                <c:pt idx="109">
                  <c:v>44000</c:v>
                </c:pt>
                <c:pt idx="110">
                  <c:v>44001</c:v>
                </c:pt>
                <c:pt idx="111">
                  <c:v>44002</c:v>
                </c:pt>
                <c:pt idx="112">
                  <c:v>44003</c:v>
                </c:pt>
                <c:pt idx="113">
                  <c:v>44004</c:v>
                </c:pt>
                <c:pt idx="114">
                  <c:v>44005</c:v>
                </c:pt>
                <c:pt idx="115">
                  <c:v>44006</c:v>
                </c:pt>
                <c:pt idx="116">
                  <c:v>44007</c:v>
                </c:pt>
                <c:pt idx="117">
                  <c:v>44008</c:v>
                </c:pt>
                <c:pt idx="118">
                  <c:v>44009</c:v>
                </c:pt>
                <c:pt idx="119">
                  <c:v>44010</c:v>
                </c:pt>
                <c:pt idx="120">
                  <c:v>44011</c:v>
                </c:pt>
                <c:pt idx="121">
                  <c:v>44012</c:v>
                </c:pt>
                <c:pt idx="122">
                  <c:v>44013</c:v>
                </c:pt>
                <c:pt idx="123">
                  <c:v>44014</c:v>
                </c:pt>
                <c:pt idx="124">
                  <c:v>44015</c:v>
                </c:pt>
                <c:pt idx="125">
                  <c:v>44016</c:v>
                </c:pt>
                <c:pt idx="126">
                  <c:v>44017</c:v>
                </c:pt>
                <c:pt idx="127">
                  <c:v>44018</c:v>
                </c:pt>
                <c:pt idx="128">
                  <c:v>44019</c:v>
                </c:pt>
                <c:pt idx="129">
                  <c:v>44020</c:v>
                </c:pt>
                <c:pt idx="130">
                  <c:v>44021</c:v>
                </c:pt>
                <c:pt idx="131">
                  <c:v>44022</c:v>
                </c:pt>
                <c:pt idx="132">
                  <c:v>44023</c:v>
                </c:pt>
                <c:pt idx="133">
                  <c:v>44024</c:v>
                </c:pt>
                <c:pt idx="134">
                  <c:v>44025</c:v>
                </c:pt>
                <c:pt idx="135">
                  <c:v>44026</c:v>
                </c:pt>
                <c:pt idx="136">
                  <c:v>44027</c:v>
                </c:pt>
                <c:pt idx="137">
                  <c:v>44028</c:v>
                </c:pt>
                <c:pt idx="138">
                  <c:v>44029</c:v>
                </c:pt>
                <c:pt idx="139">
                  <c:v>44030</c:v>
                </c:pt>
                <c:pt idx="140">
                  <c:v>44031</c:v>
                </c:pt>
                <c:pt idx="141">
                  <c:v>44032</c:v>
                </c:pt>
                <c:pt idx="142">
                  <c:v>44033</c:v>
                </c:pt>
                <c:pt idx="143">
                  <c:v>44034</c:v>
                </c:pt>
                <c:pt idx="144">
                  <c:v>44035</c:v>
                </c:pt>
                <c:pt idx="145">
                  <c:v>44036</c:v>
                </c:pt>
                <c:pt idx="146">
                  <c:v>44037</c:v>
                </c:pt>
                <c:pt idx="147">
                  <c:v>44038</c:v>
                </c:pt>
                <c:pt idx="148">
                  <c:v>44039</c:v>
                </c:pt>
                <c:pt idx="149">
                  <c:v>44040</c:v>
                </c:pt>
                <c:pt idx="150">
                  <c:v>44041</c:v>
                </c:pt>
                <c:pt idx="151">
                  <c:v>44042</c:v>
                </c:pt>
                <c:pt idx="152">
                  <c:v>44043</c:v>
                </c:pt>
                <c:pt idx="153">
                  <c:v>44044</c:v>
                </c:pt>
                <c:pt idx="154">
                  <c:v>44045</c:v>
                </c:pt>
                <c:pt idx="155">
                  <c:v>44046</c:v>
                </c:pt>
                <c:pt idx="156">
                  <c:v>44047</c:v>
                </c:pt>
                <c:pt idx="157">
                  <c:v>44048</c:v>
                </c:pt>
                <c:pt idx="158">
                  <c:v>44049</c:v>
                </c:pt>
                <c:pt idx="159">
                  <c:v>44050</c:v>
                </c:pt>
                <c:pt idx="160">
                  <c:v>44051</c:v>
                </c:pt>
                <c:pt idx="161">
                  <c:v>44052</c:v>
                </c:pt>
                <c:pt idx="162">
                  <c:v>44053</c:v>
                </c:pt>
                <c:pt idx="163">
                  <c:v>44054</c:v>
                </c:pt>
                <c:pt idx="164">
                  <c:v>44055</c:v>
                </c:pt>
                <c:pt idx="165">
                  <c:v>44056</c:v>
                </c:pt>
                <c:pt idx="166">
                  <c:v>44057</c:v>
                </c:pt>
                <c:pt idx="167">
                  <c:v>44058</c:v>
                </c:pt>
                <c:pt idx="168">
                  <c:v>44059</c:v>
                </c:pt>
                <c:pt idx="169">
                  <c:v>44060</c:v>
                </c:pt>
                <c:pt idx="170">
                  <c:v>44061</c:v>
                </c:pt>
                <c:pt idx="171">
                  <c:v>44062</c:v>
                </c:pt>
                <c:pt idx="172">
                  <c:v>44063</c:v>
                </c:pt>
                <c:pt idx="173">
                  <c:v>44064</c:v>
                </c:pt>
                <c:pt idx="174">
                  <c:v>44065</c:v>
                </c:pt>
                <c:pt idx="175">
                  <c:v>44066</c:v>
                </c:pt>
                <c:pt idx="176">
                  <c:v>44067</c:v>
                </c:pt>
                <c:pt idx="177">
                  <c:v>44068</c:v>
                </c:pt>
                <c:pt idx="178">
                  <c:v>44069</c:v>
                </c:pt>
                <c:pt idx="179">
                  <c:v>44070</c:v>
                </c:pt>
                <c:pt idx="180">
                  <c:v>44071</c:v>
                </c:pt>
                <c:pt idx="181">
                  <c:v>44072</c:v>
                </c:pt>
                <c:pt idx="182">
                  <c:v>44073</c:v>
                </c:pt>
                <c:pt idx="183">
                  <c:v>44074</c:v>
                </c:pt>
                <c:pt idx="184">
                  <c:v>44075</c:v>
                </c:pt>
                <c:pt idx="185">
                  <c:v>44076</c:v>
                </c:pt>
                <c:pt idx="186">
                  <c:v>44077</c:v>
                </c:pt>
                <c:pt idx="187">
                  <c:v>44078</c:v>
                </c:pt>
                <c:pt idx="188">
                  <c:v>44079</c:v>
                </c:pt>
                <c:pt idx="189">
                  <c:v>44080</c:v>
                </c:pt>
                <c:pt idx="190">
                  <c:v>44081</c:v>
                </c:pt>
                <c:pt idx="191">
                  <c:v>44082</c:v>
                </c:pt>
                <c:pt idx="192">
                  <c:v>44083</c:v>
                </c:pt>
                <c:pt idx="193">
                  <c:v>44084</c:v>
                </c:pt>
                <c:pt idx="194">
                  <c:v>44085</c:v>
                </c:pt>
                <c:pt idx="195">
                  <c:v>44086</c:v>
                </c:pt>
                <c:pt idx="196">
                  <c:v>44087</c:v>
                </c:pt>
                <c:pt idx="197">
                  <c:v>44088</c:v>
                </c:pt>
                <c:pt idx="198">
                  <c:v>44089</c:v>
                </c:pt>
                <c:pt idx="199">
                  <c:v>44090</c:v>
                </c:pt>
                <c:pt idx="200">
                  <c:v>44091</c:v>
                </c:pt>
                <c:pt idx="201">
                  <c:v>44092</c:v>
                </c:pt>
                <c:pt idx="202">
                  <c:v>44093</c:v>
                </c:pt>
                <c:pt idx="203">
                  <c:v>44094</c:v>
                </c:pt>
                <c:pt idx="204">
                  <c:v>44095</c:v>
                </c:pt>
                <c:pt idx="205">
                  <c:v>44096</c:v>
                </c:pt>
                <c:pt idx="206">
                  <c:v>44097</c:v>
                </c:pt>
                <c:pt idx="207">
                  <c:v>44098</c:v>
                </c:pt>
                <c:pt idx="208">
                  <c:v>44099</c:v>
                </c:pt>
                <c:pt idx="209">
                  <c:v>44100</c:v>
                </c:pt>
                <c:pt idx="210">
                  <c:v>44101</c:v>
                </c:pt>
                <c:pt idx="211">
                  <c:v>44102</c:v>
                </c:pt>
                <c:pt idx="212">
                  <c:v>44103</c:v>
                </c:pt>
                <c:pt idx="213">
                  <c:v>44104</c:v>
                </c:pt>
                <c:pt idx="214">
                  <c:v>44105</c:v>
                </c:pt>
                <c:pt idx="215">
                  <c:v>44106</c:v>
                </c:pt>
                <c:pt idx="216">
                  <c:v>44107</c:v>
                </c:pt>
                <c:pt idx="217">
                  <c:v>44108</c:v>
                </c:pt>
                <c:pt idx="218">
                  <c:v>44109</c:v>
                </c:pt>
                <c:pt idx="219">
                  <c:v>44110</c:v>
                </c:pt>
                <c:pt idx="220">
                  <c:v>44111</c:v>
                </c:pt>
                <c:pt idx="221">
                  <c:v>44112</c:v>
                </c:pt>
                <c:pt idx="222">
                  <c:v>44113</c:v>
                </c:pt>
                <c:pt idx="223">
                  <c:v>44114</c:v>
                </c:pt>
                <c:pt idx="224">
                  <c:v>44115</c:v>
                </c:pt>
                <c:pt idx="225">
                  <c:v>44116</c:v>
                </c:pt>
                <c:pt idx="226">
                  <c:v>44117</c:v>
                </c:pt>
                <c:pt idx="227">
                  <c:v>44118</c:v>
                </c:pt>
                <c:pt idx="228">
                  <c:v>44119</c:v>
                </c:pt>
                <c:pt idx="229">
                  <c:v>44120</c:v>
                </c:pt>
                <c:pt idx="230">
                  <c:v>44121</c:v>
                </c:pt>
                <c:pt idx="231">
                  <c:v>44122</c:v>
                </c:pt>
                <c:pt idx="232">
                  <c:v>44123</c:v>
                </c:pt>
                <c:pt idx="233">
                  <c:v>44124</c:v>
                </c:pt>
                <c:pt idx="234">
                  <c:v>44125</c:v>
                </c:pt>
                <c:pt idx="235">
                  <c:v>44126</c:v>
                </c:pt>
                <c:pt idx="236">
                  <c:v>44127</c:v>
                </c:pt>
                <c:pt idx="237">
                  <c:v>44128</c:v>
                </c:pt>
                <c:pt idx="238">
                  <c:v>44129</c:v>
                </c:pt>
                <c:pt idx="239">
                  <c:v>44130</c:v>
                </c:pt>
                <c:pt idx="240">
                  <c:v>44131</c:v>
                </c:pt>
                <c:pt idx="241">
                  <c:v>44132</c:v>
                </c:pt>
                <c:pt idx="242">
                  <c:v>44133</c:v>
                </c:pt>
                <c:pt idx="243">
                  <c:v>44134</c:v>
                </c:pt>
                <c:pt idx="244">
                  <c:v>44135</c:v>
                </c:pt>
                <c:pt idx="245">
                  <c:v>44136</c:v>
                </c:pt>
                <c:pt idx="246">
                  <c:v>44137</c:v>
                </c:pt>
                <c:pt idx="247">
                  <c:v>44138</c:v>
                </c:pt>
                <c:pt idx="248">
                  <c:v>44139</c:v>
                </c:pt>
                <c:pt idx="249">
                  <c:v>44140</c:v>
                </c:pt>
                <c:pt idx="250">
                  <c:v>44141</c:v>
                </c:pt>
                <c:pt idx="251">
                  <c:v>44142</c:v>
                </c:pt>
                <c:pt idx="252">
                  <c:v>44143</c:v>
                </c:pt>
                <c:pt idx="253">
                  <c:v>44144</c:v>
                </c:pt>
                <c:pt idx="254">
                  <c:v>44145</c:v>
                </c:pt>
                <c:pt idx="255">
                  <c:v>44146</c:v>
                </c:pt>
                <c:pt idx="256">
                  <c:v>44147</c:v>
                </c:pt>
                <c:pt idx="257">
                  <c:v>44148</c:v>
                </c:pt>
                <c:pt idx="258">
                  <c:v>44149</c:v>
                </c:pt>
                <c:pt idx="259">
                  <c:v>44150</c:v>
                </c:pt>
                <c:pt idx="260">
                  <c:v>44151</c:v>
                </c:pt>
                <c:pt idx="261">
                  <c:v>44152</c:v>
                </c:pt>
                <c:pt idx="262">
                  <c:v>44153</c:v>
                </c:pt>
                <c:pt idx="263">
                  <c:v>44154</c:v>
                </c:pt>
                <c:pt idx="264">
                  <c:v>44155</c:v>
                </c:pt>
                <c:pt idx="265">
                  <c:v>44156</c:v>
                </c:pt>
                <c:pt idx="266">
                  <c:v>44157</c:v>
                </c:pt>
                <c:pt idx="267">
                  <c:v>44158</c:v>
                </c:pt>
                <c:pt idx="268">
                  <c:v>44159</c:v>
                </c:pt>
                <c:pt idx="269">
                  <c:v>44160</c:v>
                </c:pt>
                <c:pt idx="270">
                  <c:v>44161</c:v>
                </c:pt>
                <c:pt idx="271">
                  <c:v>44162</c:v>
                </c:pt>
                <c:pt idx="272">
                  <c:v>44163</c:v>
                </c:pt>
                <c:pt idx="273">
                  <c:v>44164</c:v>
                </c:pt>
                <c:pt idx="274">
                  <c:v>44165</c:v>
                </c:pt>
                <c:pt idx="275">
                  <c:v>44166</c:v>
                </c:pt>
                <c:pt idx="276">
                  <c:v>44167</c:v>
                </c:pt>
                <c:pt idx="277">
                  <c:v>44168</c:v>
                </c:pt>
                <c:pt idx="278">
                  <c:v>44169</c:v>
                </c:pt>
                <c:pt idx="279">
                  <c:v>44170</c:v>
                </c:pt>
                <c:pt idx="280">
                  <c:v>44171</c:v>
                </c:pt>
                <c:pt idx="281">
                  <c:v>44172</c:v>
                </c:pt>
                <c:pt idx="282">
                  <c:v>44173</c:v>
                </c:pt>
                <c:pt idx="283">
                  <c:v>44174</c:v>
                </c:pt>
                <c:pt idx="284">
                  <c:v>44175</c:v>
                </c:pt>
                <c:pt idx="285">
                  <c:v>44176</c:v>
                </c:pt>
                <c:pt idx="286">
                  <c:v>44177</c:v>
                </c:pt>
                <c:pt idx="287">
                  <c:v>44178</c:v>
                </c:pt>
                <c:pt idx="288">
                  <c:v>44179</c:v>
                </c:pt>
                <c:pt idx="289">
                  <c:v>44180</c:v>
                </c:pt>
                <c:pt idx="290">
                  <c:v>44181</c:v>
                </c:pt>
                <c:pt idx="291">
                  <c:v>44182</c:v>
                </c:pt>
                <c:pt idx="292">
                  <c:v>44183</c:v>
                </c:pt>
                <c:pt idx="293">
                  <c:v>44184</c:v>
                </c:pt>
                <c:pt idx="294">
                  <c:v>44185</c:v>
                </c:pt>
                <c:pt idx="295">
                  <c:v>44186</c:v>
                </c:pt>
                <c:pt idx="296">
                  <c:v>44187</c:v>
                </c:pt>
                <c:pt idx="297">
                  <c:v>44188</c:v>
                </c:pt>
                <c:pt idx="298">
                  <c:v>44189</c:v>
                </c:pt>
                <c:pt idx="299">
                  <c:v>44190</c:v>
                </c:pt>
                <c:pt idx="300">
                  <c:v>44191</c:v>
                </c:pt>
                <c:pt idx="301">
                  <c:v>44192</c:v>
                </c:pt>
                <c:pt idx="302">
                  <c:v>44193</c:v>
                </c:pt>
                <c:pt idx="303">
                  <c:v>44194</c:v>
                </c:pt>
                <c:pt idx="304">
                  <c:v>44195</c:v>
                </c:pt>
                <c:pt idx="305">
                  <c:v>44196</c:v>
                </c:pt>
                <c:pt idx="306">
                  <c:v>44197</c:v>
                </c:pt>
                <c:pt idx="307">
                  <c:v>44198</c:v>
                </c:pt>
                <c:pt idx="308">
                  <c:v>44199</c:v>
                </c:pt>
                <c:pt idx="309">
                  <c:v>44200</c:v>
                </c:pt>
                <c:pt idx="310">
                  <c:v>44201</c:v>
                </c:pt>
                <c:pt idx="311">
                  <c:v>44202</c:v>
                </c:pt>
                <c:pt idx="312">
                  <c:v>44203</c:v>
                </c:pt>
                <c:pt idx="313">
                  <c:v>44204</c:v>
                </c:pt>
                <c:pt idx="314">
                  <c:v>44205</c:v>
                </c:pt>
                <c:pt idx="315">
                  <c:v>44206</c:v>
                </c:pt>
                <c:pt idx="316">
                  <c:v>44207</c:v>
                </c:pt>
                <c:pt idx="317">
                  <c:v>44208</c:v>
                </c:pt>
                <c:pt idx="318">
                  <c:v>44209</c:v>
                </c:pt>
                <c:pt idx="319">
                  <c:v>44210</c:v>
                </c:pt>
                <c:pt idx="320">
                  <c:v>44211</c:v>
                </c:pt>
                <c:pt idx="321">
                  <c:v>44212</c:v>
                </c:pt>
                <c:pt idx="322">
                  <c:v>44213</c:v>
                </c:pt>
                <c:pt idx="323">
                  <c:v>44214</c:v>
                </c:pt>
                <c:pt idx="324">
                  <c:v>44215</c:v>
                </c:pt>
                <c:pt idx="325">
                  <c:v>44216</c:v>
                </c:pt>
                <c:pt idx="326">
                  <c:v>44217</c:v>
                </c:pt>
                <c:pt idx="327">
                  <c:v>44218</c:v>
                </c:pt>
                <c:pt idx="328">
                  <c:v>44219</c:v>
                </c:pt>
                <c:pt idx="329">
                  <c:v>44220</c:v>
                </c:pt>
                <c:pt idx="330">
                  <c:v>44221</c:v>
                </c:pt>
                <c:pt idx="331">
                  <c:v>44222</c:v>
                </c:pt>
                <c:pt idx="332">
                  <c:v>44223</c:v>
                </c:pt>
                <c:pt idx="333">
                  <c:v>44224</c:v>
                </c:pt>
                <c:pt idx="334">
                  <c:v>44225</c:v>
                </c:pt>
                <c:pt idx="335">
                  <c:v>44226</c:v>
                </c:pt>
                <c:pt idx="336">
                  <c:v>44227</c:v>
                </c:pt>
                <c:pt idx="337">
                  <c:v>44228</c:v>
                </c:pt>
                <c:pt idx="338">
                  <c:v>44229</c:v>
                </c:pt>
                <c:pt idx="339">
                  <c:v>44230</c:v>
                </c:pt>
                <c:pt idx="340">
                  <c:v>44231</c:v>
                </c:pt>
                <c:pt idx="341">
                  <c:v>44232</c:v>
                </c:pt>
                <c:pt idx="342">
                  <c:v>44233</c:v>
                </c:pt>
                <c:pt idx="343">
                  <c:v>44234</c:v>
                </c:pt>
                <c:pt idx="344">
                  <c:v>44235</c:v>
                </c:pt>
                <c:pt idx="345">
                  <c:v>44236</c:v>
                </c:pt>
                <c:pt idx="346">
                  <c:v>44237</c:v>
                </c:pt>
                <c:pt idx="347">
                  <c:v>44238</c:v>
                </c:pt>
                <c:pt idx="348">
                  <c:v>44239</c:v>
                </c:pt>
                <c:pt idx="349">
                  <c:v>44240</c:v>
                </c:pt>
                <c:pt idx="350">
                  <c:v>44241</c:v>
                </c:pt>
                <c:pt idx="351">
                  <c:v>44242</c:v>
                </c:pt>
                <c:pt idx="352">
                  <c:v>44243</c:v>
                </c:pt>
                <c:pt idx="353">
                  <c:v>44244</c:v>
                </c:pt>
                <c:pt idx="354">
                  <c:v>44245</c:v>
                </c:pt>
                <c:pt idx="355">
                  <c:v>44246</c:v>
                </c:pt>
                <c:pt idx="356">
                  <c:v>44247</c:v>
                </c:pt>
                <c:pt idx="357">
                  <c:v>44248</c:v>
                </c:pt>
                <c:pt idx="358">
                  <c:v>44249</c:v>
                </c:pt>
                <c:pt idx="359">
                  <c:v>44250</c:v>
                </c:pt>
                <c:pt idx="360">
                  <c:v>44251</c:v>
                </c:pt>
                <c:pt idx="361">
                  <c:v>44252</c:v>
                </c:pt>
                <c:pt idx="362">
                  <c:v>44253</c:v>
                </c:pt>
                <c:pt idx="363">
                  <c:v>44254</c:v>
                </c:pt>
                <c:pt idx="364">
                  <c:v>44255</c:v>
                </c:pt>
                <c:pt idx="365">
                  <c:v>44256</c:v>
                </c:pt>
                <c:pt idx="366">
                  <c:v>44257</c:v>
                </c:pt>
                <c:pt idx="367">
                  <c:v>44258</c:v>
                </c:pt>
                <c:pt idx="368">
                  <c:v>44259</c:v>
                </c:pt>
                <c:pt idx="369">
                  <c:v>44260</c:v>
                </c:pt>
                <c:pt idx="370">
                  <c:v>44261</c:v>
                </c:pt>
                <c:pt idx="371">
                  <c:v>44262</c:v>
                </c:pt>
                <c:pt idx="372">
                  <c:v>44263</c:v>
                </c:pt>
                <c:pt idx="373">
                  <c:v>44264</c:v>
                </c:pt>
                <c:pt idx="374">
                  <c:v>44265</c:v>
                </c:pt>
                <c:pt idx="375">
                  <c:v>44266</c:v>
                </c:pt>
                <c:pt idx="376">
                  <c:v>44267</c:v>
                </c:pt>
                <c:pt idx="377">
                  <c:v>44268</c:v>
                </c:pt>
                <c:pt idx="378">
                  <c:v>44269</c:v>
                </c:pt>
                <c:pt idx="379">
                  <c:v>44270</c:v>
                </c:pt>
                <c:pt idx="380">
                  <c:v>44271</c:v>
                </c:pt>
                <c:pt idx="381">
                  <c:v>44272</c:v>
                </c:pt>
                <c:pt idx="382">
                  <c:v>44273</c:v>
                </c:pt>
                <c:pt idx="383">
                  <c:v>44274</c:v>
                </c:pt>
                <c:pt idx="384">
                  <c:v>44275</c:v>
                </c:pt>
                <c:pt idx="385">
                  <c:v>44276</c:v>
                </c:pt>
                <c:pt idx="386">
                  <c:v>44277</c:v>
                </c:pt>
                <c:pt idx="387">
                  <c:v>44278</c:v>
                </c:pt>
                <c:pt idx="388">
                  <c:v>44279</c:v>
                </c:pt>
                <c:pt idx="389">
                  <c:v>44280</c:v>
                </c:pt>
                <c:pt idx="390">
                  <c:v>44281</c:v>
                </c:pt>
                <c:pt idx="391">
                  <c:v>44282</c:v>
                </c:pt>
                <c:pt idx="392">
                  <c:v>44283</c:v>
                </c:pt>
                <c:pt idx="393">
                  <c:v>44284</c:v>
                </c:pt>
                <c:pt idx="394">
                  <c:v>44285</c:v>
                </c:pt>
                <c:pt idx="395">
                  <c:v>44286</c:v>
                </c:pt>
                <c:pt idx="396">
                  <c:v>44287</c:v>
                </c:pt>
                <c:pt idx="397">
                  <c:v>44288</c:v>
                </c:pt>
                <c:pt idx="398">
                  <c:v>44289</c:v>
                </c:pt>
                <c:pt idx="399">
                  <c:v>44290</c:v>
                </c:pt>
                <c:pt idx="400">
                  <c:v>44291</c:v>
                </c:pt>
                <c:pt idx="401">
                  <c:v>44292</c:v>
                </c:pt>
                <c:pt idx="402">
                  <c:v>44293</c:v>
                </c:pt>
                <c:pt idx="403">
                  <c:v>44294</c:v>
                </c:pt>
                <c:pt idx="404">
                  <c:v>44295</c:v>
                </c:pt>
                <c:pt idx="405">
                  <c:v>44296</c:v>
                </c:pt>
                <c:pt idx="406">
                  <c:v>44297</c:v>
                </c:pt>
                <c:pt idx="407">
                  <c:v>44298</c:v>
                </c:pt>
                <c:pt idx="408">
                  <c:v>44299</c:v>
                </c:pt>
                <c:pt idx="409">
                  <c:v>44300</c:v>
                </c:pt>
                <c:pt idx="410">
                  <c:v>44301</c:v>
                </c:pt>
                <c:pt idx="411">
                  <c:v>44302</c:v>
                </c:pt>
                <c:pt idx="412">
                  <c:v>44303</c:v>
                </c:pt>
                <c:pt idx="413">
                  <c:v>44304</c:v>
                </c:pt>
                <c:pt idx="414">
                  <c:v>44305</c:v>
                </c:pt>
                <c:pt idx="415">
                  <c:v>44306</c:v>
                </c:pt>
                <c:pt idx="416">
                  <c:v>44307</c:v>
                </c:pt>
                <c:pt idx="417">
                  <c:v>44308</c:v>
                </c:pt>
                <c:pt idx="418">
                  <c:v>44309</c:v>
                </c:pt>
                <c:pt idx="419">
                  <c:v>44310</c:v>
                </c:pt>
                <c:pt idx="420">
                  <c:v>44311</c:v>
                </c:pt>
                <c:pt idx="421">
                  <c:v>44312</c:v>
                </c:pt>
                <c:pt idx="422">
                  <c:v>44313</c:v>
                </c:pt>
                <c:pt idx="423">
                  <c:v>44314</c:v>
                </c:pt>
                <c:pt idx="424">
                  <c:v>44315</c:v>
                </c:pt>
                <c:pt idx="425">
                  <c:v>44316</c:v>
                </c:pt>
                <c:pt idx="426">
                  <c:v>44317</c:v>
                </c:pt>
                <c:pt idx="427">
                  <c:v>44318</c:v>
                </c:pt>
                <c:pt idx="428">
                  <c:v>44319</c:v>
                </c:pt>
                <c:pt idx="429">
                  <c:v>44320</c:v>
                </c:pt>
                <c:pt idx="430">
                  <c:v>44321</c:v>
                </c:pt>
                <c:pt idx="431">
                  <c:v>44322</c:v>
                </c:pt>
                <c:pt idx="432">
                  <c:v>44323</c:v>
                </c:pt>
                <c:pt idx="433">
                  <c:v>44324</c:v>
                </c:pt>
                <c:pt idx="434">
                  <c:v>44325</c:v>
                </c:pt>
                <c:pt idx="435">
                  <c:v>44326</c:v>
                </c:pt>
                <c:pt idx="436">
                  <c:v>44327</c:v>
                </c:pt>
                <c:pt idx="437">
                  <c:v>44328</c:v>
                </c:pt>
                <c:pt idx="438">
                  <c:v>44329</c:v>
                </c:pt>
                <c:pt idx="439">
                  <c:v>44330</c:v>
                </c:pt>
                <c:pt idx="440">
                  <c:v>44331</c:v>
                </c:pt>
                <c:pt idx="441">
                  <c:v>44332</c:v>
                </c:pt>
                <c:pt idx="442">
                  <c:v>44333</c:v>
                </c:pt>
                <c:pt idx="443">
                  <c:v>44334</c:v>
                </c:pt>
                <c:pt idx="444">
                  <c:v>44335</c:v>
                </c:pt>
                <c:pt idx="445">
                  <c:v>44336</c:v>
                </c:pt>
                <c:pt idx="446">
                  <c:v>44337</c:v>
                </c:pt>
                <c:pt idx="447">
                  <c:v>44338</c:v>
                </c:pt>
                <c:pt idx="448">
                  <c:v>44339</c:v>
                </c:pt>
                <c:pt idx="449">
                  <c:v>44340</c:v>
                </c:pt>
                <c:pt idx="450">
                  <c:v>44341</c:v>
                </c:pt>
                <c:pt idx="451">
                  <c:v>44342</c:v>
                </c:pt>
                <c:pt idx="452">
                  <c:v>44343</c:v>
                </c:pt>
                <c:pt idx="453">
                  <c:v>44344</c:v>
                </c:pt>
                <c:pt idx="454">
                  <c:v>44345</c:v>
                </c:pt>
                <c:pt idx="455">
                  <c:v>44346</c:v>
                </c:pt>
                <c:pt idx="456">
                  <c:v>44347</c:v>
                </c:pt>
                <c:pt idx="457">
                  <c:v>44348</c:v>
                </c:pt>
                <c:pt idx="458">
                  <c:v>44349</c:v>
                </c:pt>
                <c:pt idx="459">
                  <c:v>44350</c:v>
                </c:pt>
                <c:pt idx="460">
                  <c:v>44351</c:v>
                </c:pt>
                <c:pt idx="461">
                  <c:v>44352</c:v>
                </c:pt>
                <c:pt idx="462">
                  <c:v>44353</c:v>
                </c:pt>
                <c:pt idx="463">
                  <c:v>44354</c:v>
                </c:pt>
                <c:pt idx="464">
                  <c:v>44355</c:v>
                </c:pt>
                <c:pt idx="465">
                  <c:v>44356</c:v>
                </c:pt>
                <c:pt idx="466">
                  <c:v>44357</c:v>
                </c:pt>
                <c:pt idx="467">
                  <c:v>44358</c:v>
                </c:pt>
                <c:pt idx="468">
                  <c:v>44359</c:v>
                </c:pt>
                <c:pt idx="469">
                  <c:v>44360</c:v>
                </c:pt>
                <c:pt idx="470">
                  <c:v>44361</c:v>
                </c:pt>
                <c:pt idx="471">
                  <c:v>44362</c:v>
                </c:pt>
                <c:pt idx="472">
                  <c:v>44363</c:v>
                </c:pt>
                <c:pt idx="473">
                  <c:v>44364</c:v>
                </c:pt>
                <c:pt idx="474">
                  <c:v>44365</c:v>
                </c:pt>
                <c:pt idx="475">
                  <c:v>44366</c:v>
                </c:pt>
                <c:pt idx="476">
                  <c:v>44367</c:v>
                </c:pt>
                <c:pt idx="477">
                  <c:v>44368</c:v>
                </c:pt>
                <c:pt idx="478">
                  <c:v>44369</c:v>
                </c:pt>
                <c:pt idx="479">
                  <c:v>44370</c:v>
                </c:pt>
                <c:pt idx="480">
                  <c:v>44371</c:v>
                </c:pt>
                <c:pt idx="481">
                  <c:v>44372</c:v>
                </c:pt>
                <c:pt idx="482">
                  <c:v>44373</c:v>
                </c:pt>
                <c:pt idx="483">
                  <c:v>44374</c:v>
                </c:pt>
                <c:pt idx="484">
                  <c:v>44375</c:v>
                </c:pt>
                <c:pt idx="485">
                  <c:v>44376</c:v>
                </c:pt>
                <c:pt idx="486">
                  <c:v>44377</c:v>
                </c:pt>
                <c:pt idx="487">
                  <c:v>44378</c:v>
                </c:pt>
                <c:pt idx="488">
                  <c:v>44379</c:v>
                </c:pt>
                <c:pt idx="489">
                  <c:v>44380</c:v>
                </c:pt>
                <c:pt idx="490">
                  <c:v>44381</c:v>
                </c:pt>
                <c:pt idx="491">
                  <c:v>44382</c:v>
                </c:pt>
                <c:pt idx="492">
                  <c:v>44383</c:v>
                </c:pt>
                <c:pt idx="493">
                  <c:v>44384</c:v>
                </c:pt>
                <c:pt idx="494">
                  <c:v>44385</c:v>
                </c:pt>
                <c:pt idx="495">
                  <c:v>44386</c:v>
                </c:pt>
                <c:pt idx="496">
                  <c:v>44387</c:v>
                </c:pt>
                <c:pt idx="497">
                  <c:v>44388</c:v>
                </c:pt>
                <c:pt idx="498">
                  <c:v>44389</c:v>
                </c:pt>
                <c:pt idx="499">
                  <c:v>44390</c:v>
                </c:pt>
                <c:pt idx="500">
                  <c:v>44391</c:v>
                </c:pt>
                <c:pt idx="501">
                  <c:v>44392</c:v>
                </c:pt>
                <c:pt idx="502">
                  <c:v>44393</c:v>
                </c:pt>
                <c:pt idx="503">
                  <c:v>44394</c:v>
                </c:pt>
                <c:pt idx="504">
                  <c:v>44395</c:v>
                </c:pt>
                <c:pt idx="505">
                  <c:v>44396</c:v>
                </c:pt>
                <c:pt idx="506">
                  <c:v>44397</c:v>
                </c:pt>
                <c:pt idx="507">
                  <c:v>44398</c:v>
                </c:pt>
                <c:pt idx="508">
                  <c:v>44399</c:v>
                </c:pt>
                <c:pt idx="509">
                  <c:v>44400</c:v>
                </c:pt>
                <c:pt idx="510">
                  <c:v>44401</c:v>
                </c:pt>
                <c:pt idx="511">
                  <c:v>44402</c:v>
                </c:pt>
                <c:pt idx="512">
                  <c:v>44403</c:v>
                </c:pt>
                <c:pt idx="513">
                  <c:v>44404</c:v>
                </c:pt>
                <c:pt idx="514">
                  <c:v>44405</c:v>
                </c:pt>
                <c:pt idx="515">
                  <c:v>44406</c:v>
                </c:pt>
                <c:pt idx="516">
                  <c:v>44407</c:v>
                </c:pt>
                <c:pt idx="517">
                  <c:v>44408</c:v>
                </c:pt>
                <c:pt idx="518">
                  <c:v>44409</c:v>
                </c:pt>
                <c:pt idx="519">
                  <c:v>44410</c:v>
                </c:pt>
                <c:pt idx="520">
                  <c:v>44411</c:v>
                </c:pt>
                <c:pt idx="521">
                  <c:v>44412</c:v>
                </c:pt>
                <c:pt idx="522">
                  <c:v>44413</c:v>
                </c:pt>
                <c:pt idx="523">
                  <c:v>44414</c:v>
                </c:pt>
                <c:pt idx="524">
                  <c:v>44415</c:v>
                </c:pt>
                <c:pt idx="525">
                  <c:v>44416</c:v>
                </c:pt>
                <c:pt idx="526">
                  <c:v>44417</c:v>
                </c:pt>
                <c:pt idx="527">
                  <c:v>44418</c:v>
                </c:pt>
                <c:pt idx="528">
                  <c:v>44419</c:v>
                </c:pt>
                <c:pt idx="529">
                  <c:v>44420</c:v>
                </c:pt>
                <c:pt idx="530">
                  <c:v>44421</c:v>
                </c:pt>
                <c:pt idx="531">
                  <c:v>44422</c:v>
                </c:pt>
              </c:numCache>
            </c:numRef>
          </c:cat>
          <c:val>
            <c:numRef>
              <c:f>Sheet1!$E$2:$E$533</c:f>
              <c:numCache>
                <c:formatCode>General</c:formatCode>
                <c:ptCount val="532"/>
                <c:pt idx="0">
                  <c:v>608.5714285714306</c:v>
                </c:pt>
                <c:pt idx="1">
                  <c:v>608.5714285714306</c:v>
                </c:pt>
                <c:pt idx="2">
                  <c:v>608.5714285714306</c:v>
                </c:pt>
                <c:pt idx="3">
                  <c:v>608.5714285714306</c:v>
                </c:pt>
                <c:pt idx="4">
                  <c:v>579.00000000000023</c:v>
                </c:pt>
                <c:pt idx="5">
                  <c:v>579.00000000000023</c:v>
                </c:pt>
                <c:pt idx="6">
                  <c:v>579.00000000000023</c:v>
                </c:pt>
                <c:pt idx="7">
                  <c:v>579.00000000000023</c:v>
                </c:pt>
                <c:pt idx="8">
                  <c:v>579.00000000000023</c:v>
                </c:pt>
                <c:pt idx="9">
                  <c:v>579.00000000000023</c:v>
                </c:pt>
                <c:pt idx="10">
                  <c:v>579.00000000000023</c:v>
                </c:pt>
                <c:pt idx="11">
                  <c:v>586.57142857142867</c:v>
                </c:pt>
                <c:pt idx="12">
                  <c:v>586.57142857142867</c:v>
                </c:pt>
                <c:pt idx="13">
                  <c:v>586.57142857142867</c:v>
                </c:pt>
                <c:pt idx="14">
                  <c:v>586.57142857142867</c:v>
                </c:pt>
                <c:pt idx="15">
                  <c:v>586.57142857142867</c:v>
                </c:pt>
                <c:pt idx="16">
                  <c:v>586.57142857142867</c:v>
                </c:pt>
                <c:pt idx="17">
                  <c:v>586.57142857142867</c:v>
                </c:pt>
                <c:pt idx="18">
                  <c:v>548.85714285714175</c:v>
                </c:pt>
                <c:pt idx="19">
                  <c:v>548.85714285714175</c:v>
                </c:pt>
                <c:pt idx="20">
                  <c:v>548.85714285714175</c:v>
                </c:pt>
                <c:pt idx="21">
                  <c:v>548.85714285714175</c:v>
                </c:pt>
                <c:pt idx="22">
                  <c:v>548.85714285714175</c:v>
                </c:pt>
                <c:pt idx="23">
                  <c:v>548.85714285714175</c:v>
                </c:pt>
                <c:pt idx="24">
                  <c:v>548.85714285714175</c:v>
                </c:pt>
                <c:pt idx="25">
                  <c:v>567.00000000000011</c:v>
                </c:pt>
                <c:pt idx="26">
                  <c:v>567.00000000000011</c:v>
                </c:pt>
                <c:pt idx="27">
                  <c:v>567.00000000000011</c:v>
                </c:pt>
                <c:pt idx="28">
                  <c:v>567.00000000000011</c:v>
                </c:pt>
                <c:pt idx="29">
                  <c:v>567.00000000000011</c:v>
                </c:pt>
                <c:pt idx="30">
                  <c:v>567.00000000000011</c:v>
                </c:pt>
                <c:pt idx="31">
                  <c:v>567.00000000000011</c:v>
                </c:pt>
                <c:pt idx="32">
                  <c:v>553.71428571428498</c:v>
                </c:pt>
                <c:pt idx="33">
                  <c:v>553.71428571428498</c:v>
                </c:pt>
                <c:pt idx="34">
                  <c:v>553.71428571428498</c:v>
                </c:pt>
                <c:pt idx="35">
                  <c:v>553.71428571428498</c:v>
                </c:pt>
                <c:pt idx="36">
                  <c:v>553.71428571428498</c:v>
                </c:pt>
                <c:pt idx="37">
                  <c:v>553.71428571428498</c:v>
                </c:pt>
                <c:pt idx="38">
                  <c:v>553.71428571428498</c:v>
                </c:pt>
                <c:pt idx="39">
                  <c:v>552.71428571428589</c:v>
                </c:pt>
                <c:pt idx="40">
                  <c:v>552.71428571428589</c:v>
                </c:pt>
                <c:pt idx="41">
                  <c:v>552.71428571428589</c:v>
                </c:pt>
                <c:pt idx="42">
                  <c:v>552.71428571428589</c:v>
                </c:pt>
                <c:pt idx="43">
                  <c:v>552.71428571428589</c:v>
                </c:pt>
                <c:pt idx="44">
                  <c:v>552.71428571428589</c:v>
                </c:pt>
                <c:pt idx="45">
                  <c:v>552.71428571428589</c:v>
                </c:pt>
                <c:pt idx="46">
                  <c:v>512.00000000000125</c:v>
                </c:pt>
                <c:pt idx="47">
                  <c:v>512.00000000000125</c:v>
                </c:pt>
                <c:pt idx="48">
                  <c:v>512.00000000000125</c:v>
                </c:pt>
                <c:pt idx="49">
                  <c:v>512.00000000000125</c:v>
                </c:pt>
                <c:pt idx="50">
                  <c:v>512.00000000000125</c:v>
                </c:pt>
                <c:pt idx="51">
                  <c:v>512.00000000000125</c:v>
                </c:pt>
                <c:pt idx="52">
                  <c:v>512.00000000000125</c:v>
                </c:pt>
                <c:pt idx="53">
                  <c:v>539.0000000000008</c:v>
                </c:pt>
                <c:pt idx="54">
                  <c:v>539.0000000000008</c:v>
                </c:pt>
                <c:pt idx="55">
                  <c:v>539.0000000000008</c:v>
                </c:pt>
                <c:pt idx="56">
                  <c:v>539.0000000000008</c:v>
                </c:pt>
                <c:pt idx="57">
                  <c:v>539.0000000000008</c:v>
                </c:pt>
                <c:pt idx="58">
                  <c:v>539.0000000000008</c:v>
                </c:pt>
                <c:pt idx="59">
                  <c:v>539.0000000000008</c:v>
                </c:pt>
                <c:pt idx="60">
                  <c:v>538.85714285714198</c:v>
                </c:pt>
                <c:pt idx="61">
                  <c:v>538.85714285714198</c:v>
                </c:pt>
                <c:pt idx="62">
                  <c:v>538.85714285714198</c:v>
                </c:pt>
                <c:pt idx="63">
                  <c:v>538.85714285714198</c:v>
                </c:pt>
                <c:pt idx="64">
                  <c:v>538.85714285714198</c:v>
                </c:pt>
                <c:pt idx="65">
                  <c:v>538.85714285714198</c:v>
                </c:pt>
                <c:pt idx="66">
                  <c:v>538.85714285714198</c:v>
                </c:pt>
                <c:pt idx="67">
                  <c:v>519.00000000000034</c:v>
                </c:pt>
                <c:pt idx="68">
                  <c:v>519.00000000000034</c:v>
                </c:pt>
                <c:pt idx="69">
                  <c:v>519.00000000000034</c:v>
                </c:pt>
                <c:pt idx="70">
                  <c:v>519.00000000000034</c:v>
                </c:pt>
                <c:pt idx="71">
                  <c:v>519.00000000000034</c:v>
                </c:pt>
                <c:pt idx="72">
                  <c:v>519.00000000000034</c:v>
                </c:pt>
                <c:pt idx="73">
                  <c:v>519.00000000000034</c:v>
                </c:pt>
                <c:pt idx="74">
                  <c:v>478.85714285714306</c:v>
                </c:pt>
                <c:pt idx="75">
                  <c:v>478.85714285714306</c:v>
                </c:pt>
                <c:pt idx="76">
                  <c:v>478.85714285714306</c:v>
                </c:pt>
                <c:pt idx="77">
                  <c:v>478.85714285714306</c:v>
                </c:pt>
                <c:pt idx="78">
                  <c:v>478.85714285714306</c:v>
                </c:pt>
                <c:pt idx="79">
                  <c:v>478.85714285714306</c:v>
                </c:pt>
                <c:pt idx="80">
                  <c:v>478.85714285714306</c:v>
                </c:pt>
                <c:pt idx="81">
                  <c:v>487.71428571428561</c:v>
                </c:pt>
                <c:pt idx="82">
                  <c:v>487.71428571428561</c:v>
                </c:pt>
                <c:pt idx="83">
                  <c:v>487.71428571428561</c:v>
                </c:pt>
                <c:pt idx="84">
                  <c:v>487.71428571428561</c:v>
                </c:pt>
                <c:pt idx="85">
                  <c:v>487.71428571428561</c:v>
                </c:pt>
                <c:pt idx="86">
                  <c:v>487.71428571428561</c:v>
                </c:pt>
                <c:pt idx="87">
                  <c:v>487.71428571428561</c:v>
                </c:pt>
                <c:pt idx="88">
                  <c:v>502.99999999999989</c:v>
                </c:pt>
                <c:pt idx="89">
                  <c:v>502.99999999999989</c:v>
                </c:pt>
                <c:pt idx="90">
                  <c:v>502.99999999999989</c:v>
                </c:pt>
                <c:pt idx="91">
                  <c:v>502.99999999999989</c:v>
                </c:pt>
                <c:pt idx="92">
                  <c:v>502.99999999999989</c:v>
                </c:pt>
                <c:pt idx="93">
                  <c:v>502.99999999999989</c:v>
                </c:pt>
                <c:pt idx="94">
                  <c:v>502.99999999999989</c:v>
                </c:pt>
                <c:pt idx="95">
                  <c:v>474.57142857142884</c:v>
                </c:pt>
                <c:pt idx="96">
                  <c:v>474.57142857142884</c:v>
                </c:pt>
                <c:pt idx="97">
                  <c:v>474.57142857142884</c:v>
                </c:pt>
                <c:pt idx="98">
                  <c:v>474.57142857142884</c:v>
                </c:pt>
                <c:pt idx="99">
                  <c:v>474.57142857142884</c:v>
                </c:pt>
                <c:pt idx="100">
                  <c:v>474.57142857142884</c:v>
                </c:pt>
                <c:pt idx="101">
                  <c:v>474.57142857142884</c:v>
                </c:pt>
                <c:pt idx="102">
                  <c:v>502.28571428571422</c:v>
                </c:pt>
                <c:pt idx="103">
                  <c:v>502.28571428571422</c:v>
                </c:pt>
                <c:pt idx="104">
                  <c:v>502.28571428571422</c:v>
                </c:pt>
                <c:pt idx="105">
                  <c:v>502.28571428571422</c:v>
                </c:pt>
                <c:pt idx="106">
                  <c:v>502.28571428571422</c:v>
                </c:pt>
                <c:pt idx="107">
                  <c:v>502.28571428571422</c:v>
                </c:pt>
                <c:pt idx="108">
                  <c:v>502.28571428571422</c:v>
                </c:pt>
                <c:pt idx="109">
                  <c:v>464.00000000000045</c:v>
                </c:pt>
                <c:pt idx="110">
                  <c:v>464.00000000000045</c:v>
                </c:pt>
                <c:pt idx="111">
                  <c:v>464.00000000000045</c:v>
                </c:pt>
                <c:pt idx="112">
                  <c:v>464.00000000000045</c:v>
                </c:pt>
                <c:pt idx="113">
                  <c:v>464.00000000000045</c:v>
                </c:pt>
                <c:pt idx="114">
                  <c:v>464.00000000000045</c:v>
                </c:pt>
                <c:pt idx="115">
                  <c:v>464.00000000000045</c:v>
                </c:pt>
                <c:pt idx="116">
                  <c:v>520.4285714285719</c:v>
                </c:pt>
                <c:pt idx="117">
                  <c:v>520.4285714285719</c:v>
                </c:pt>
                <c:pt idx="118">
                  <c:v>520.4285714285719</c:v>
                </c:pt>
                <c:pt idx="119">
                  <c:v>520.4285714285719</c:v>
                </c:pt>
                <c:pt idx="120">
                  <c:v>520.4285714285719</c:v>
                </c:pt>
                <c:pt idx="121">
                  <c:v>520.4285714285719</c:v>
                </c:pt>
                <c:pt idx="122">
                  <c:v>520.4285714285719</c:v>
                </c:pt>
                <c:pt idx="123">
                  <c:v>416.85714285714283</c:v>
                </c:pt>
                <c:pt idx="124">
                  <c:v>416.85714285714283</c:v>
                </c:pt>
                <c:pt idx="125">
                  <c:v>416.85714285714283</c:v>
                </c:pt>
                <c:pt idx="126">
                  <c:v>416.85714285714283</c:v>
                </c:pt>
                <c:pt idx="127">
                  <c:v>416.85714285714283</c:v>
                </c:pt>
                <c:pt idx="128">
                  <c:v>416.85714285714283</c:v>
                </c:pt>
                <c:pt idx="129">
                  <c:v>416.85714285714283</c:v>
                </c:pt>
                <c:pt idx="130">
                  <c:v>458.71428571428595</c:v>
                </c:pt>
                <c:pt idx="131">
                  <c:v>458.71428571428595</c:v>
                </c:pt>
                <c:pt idx="132">
                  <c:v>458.71428571428595</c:v>
                </c:pt>
                <c:pt idx="133">
                  <c:v>458.71428571428595</c:v>
                </c:pt>
                <c:pt idx="134">
                  <c:v>458.71428571428595</c:v>
                </c:pt>
                <c:pt idx="135">
                  <c:v>458.71428571428595</c:v>
                </c:pt>
                <c:pt idx="136">
                  <c:v>458.71428571428595</c:v>
                </c:pt>
                <c:pt idx="137">
                  <c:v>457.99999999999926</c:v>
                </c:pt>
                <c:pt idx="138">
                  <c:v>457.99999999999926</c:v>
                </c:pt>
                <c:pt idx="139">
                  <c:v>457.99999999999926</c:v>
                </c:pt>
                <c:pt idx="140">
                  <c:v>457.99999999999926</c:v>
                </c:pt>
                <c:pt idx="141">
                  <c:v>457.99999999999926</c:v>
                </c:pt>
                <c:pt idx="142">
                  <c:v>457.99999999999926</c:v>
                </c:pt>
                <c:pt idx="143">
                  <c:v>457.99999999999926</c:v>
                </c:pt>
                <c:pt idx="144">
                  <c:v>455.85714285714249</c:v>
                </c:pt>
                <c:pt idx="145">
                  <c:v>455.85714285714249</c:v>
                </c:pt>
                <c:pt idx="146">
                  <c:v>455.85714285714249</c:v>
                </c:pt>
                <c:pt idx="147">
                  <c:v>455.85714285714249</c:v>
                </c:pt>
                <c:pt idx="148">
                  <c:v>455.85714285714249</c:v>
                </c:pt>
                <c:pt idx="149">
                  <c:v>455.85714285714249</c:v>
                </c:pt>
                <c:pt idx="150">
                  <c:v>455.85714285714249</c:v>
                </c:pt>
                <c:pt idx="151">
                  <c:v>458.14285714285722</c:v>
                </c:pt>
                <c:pt idx="152">
                  <c:v>458.14285714285722</c:v>
                </c:pt>
                <c:pt idx="153">
                  <c:v>458.14285714285722</c:v>
                </c:pt>
                <c:pt idx="154">
                  <c:v>458.14285714285722</c:v>
                </c:pt>
                <c:pt idx="155">
                  <c:v>458.14285714285722</c:v>
                </c:pt>
                <c:pt idx="156">
                  <c:v>458.14285714285722</c:v>
                </c:pt>
                <c:pt idx="157">
                  <c:v>458.14285714285722</c:v>
                </c:pt>
                <c:pt idx="158">
                  <c:v>414.42857142857144</c:v>
                </c:pt>
                <c:pt idx="159">
                  <c:v>414.42857142857144</c:v>
                </c:pt>
                <c:pt idx="160">
                  <c:v>414.42857142857144</c:v>
                </c:pt>
                <c:pt idx="161">
                  <c:v>414.42857142857144</c:v>
                </c:pt>
                <c:pt idx="162">
                  <c:v>414.42857142857144</c:v>
                </c:pt>
                <c:pt idx="163">
                  <c:v>414.42857142857144</c:v>
                </c:pt>
                <c:pt idx="164">
                  <c:v>414.42857142857144</c:v>
                </c:pt>
                <c:pt idx="165">
                  <c:v>435.99999999999966</c:v>
                </c:pt>
                <c:pt idx="166">
                  <c:v>435.99999999999966</c:v>
                </c:pt>
                <c:pt idx="167">
                  <c:v>435.99999999999966</c:v>
                </c:pt>
                <c:pt idx="168">
                  <c:v>435.99999999999966</c:v>
                </c:pt>
                <c:pt idx="169">
                  <c:v>435.99999999999966</c:v>
                </c:pt>
                <c:pt idx="170">
                  <c:v>435.99999999999966</c:v>
                </c:pt>
                <c:pt idx="171">
                  <c:v>435.99999999999966</c:v>
                </c:pt>
                <c:pt idx="172">
                  <c:v>440.14285714285728</c:v>
                </c:pt>
                <c:pt idx="173">
                  <c:v>440.14285714285728</c:v>
                </c:pt>
                <c:pt idx="174">
                  <c:v>440.14285714285728</c:v>
                </c:pt>
                <c:pt idx="175">
                  <c:v>440.14285714285728</c:v>
                </c:pt>
                <c:pt idx="176">
                  <c:v>440.14285714285728</c:v>
                </c:pt>
                <c:pt idx="177">
                  <c:v>440.14285714285728</c:v>
                </c:pt>
                <c:pt idx="178">
                  <c:v>440.14285714285728</c:v>
                </c:pt>
                <c:pt idx="179">
                  <c:v>478.28571428571405</c:v>
                </c:pt>
                <c:pt idx="180">
                  <c:v>478.28571428571405</c:v>
                </c:pt>
                <c:pt idx="181">
                  <c:v>478.28571428571405</c:v>
                </c:pt>
                <c:pt idx="182">
                  <c:v>478.28571428571405</c:v>
                </c:pt>
                <c:pt idx="183">
                  <c:v>478.28571428571405</c:v>
                </c:pt>
                <c:pt idx="184">
                  <c:v>478.28571428571405</c:v>
                </c:pt>
                <c:pt idx="185">
                  <c:v>478.28571428571405</c:v>
                </c:pt>
                <c:pt idx="186">
                  <c:v>440.14285714285774</c:v>
                </c:pt>
                <c:pt idx="187">
                  <c:v>440.14285714285774</c:v>
                </c:pt>
                <c:pt idx="188">
                  <c:v>440.14285714285774</c:v>
                </c:pt>
                <c:pt idx="189">
                  <c:v>440.14285714285774</c:v>
                </c:pt>
                <c:pt idx="190">
                  <c:v>440.14285714285774</c:v>
                </c:pt>
                <c:pt idx="191">
                  <c:v>440.14285714285774</c:v>
                </c:pt>
                <c:pt idx="192">
                  <c:v>440.14285714285774</c:v>
                </c:pt>
                <c:pt idx="193">
                  <c:v>438.00000000000006</c:v>
                </c:pt>
                <c:pt idx="194">
                  <c:v>438.00000000000006</c:v>
                </c:pt>
                <c:pt idx="195">
                  <c:v>438.00000000000006</c:v>
                </c:pt>
                <c:pt idx="196">
                  <c:v>438.00000000000006</c:v>
                </c:pt>
                <c:pt idx="197">
                  <c:v>438.00000000000006</c:v>
                </c:pt>
                <c:pt idx="198">
                  <c:v>438.00000000000006</c:v>
                </c:pt>
                <c:pt idx="199">
                  <c:v>438.00000000000006</c:v>
                </c:pt>
                <c:pt idx="200">
                  <c:v>485.5714285714289</c:v>
                </c:pt>
                <c:pt idx="201">
                  <c:v>485.5714285714289</c:v>
                </c:pt>
                <c:pt idx="202">
                  <c:v>485.5714285714289</c:v>
                </c:pt>
                <c:pt idx="203">
                  <c:v>485.5714285714289</c:v>
                </c:pt>
                <c:pt idx="204">
                  <c:v>485.5714285714289</c:v>
                </c:pt>
                <c:pt idx="205">
                  <c:v>485.5714285714289</c:v>
                </c:pt>
                <c:pt idx="206">
                  <c:v>485.5714285714289</c:v>
                </c:pt>
                <c:pt idx="207">
                  <c:v>458.85714285714272</c:v>
                </c:pt>
                <c:pt idx="208">
                  <c:v>458.85714285714272</c:v>
                </c:pt>
                <c:pt idx="209">
                  <c:v>458.85714285714272</c:v>
                </c:pt>
                <c:pt idx="210">
                  <c:v>458.85714285714272</c:v>
                </c:pt>
                <c:pt idx="211">
                  <c:v>458.85714285714272</c:v>
                </c:pt>
                <c:pt idx="212">
                  <c:v>458.85714285714272</c:v>
                </c:pt>
                <c:pt idx="213">
                  <c:v>458.85714285714272</c:v>
                </c:pt>
                <c:pt idx="214">
                  <c:v>484.5714285714281</c:v>
                </c:pt>
                <c:pt idx="215">
                  <c:v>484.5714285714281</c:v>
                </c:pt>
                <c:pt idx="216">
                  <c:v>484.5714285714281</c:v>
                </c:pt>
                <c:pt idx="217">
                  <c:v>484.5714285714281</c:v>
                </c:pt>
                <c:pt idx="218">
                  <c:v>484.5714285714281</c:v>
                </c:pt>
                <c:pt idx="219">
                  <c:v>484.5714285714281</c:v>
                </c:pt>
                <c:pt idx="220">
                  <c:v>484.5714285714281</c:v>
                </c:pt>
                <c:pt idx="221">
                  <c:v>474.28571428571485</c:v>
                </c:pt>
                <c:pt idx="222">
                  <c:v>474.28571428571485</c:v>
                </c:pt>
                <c:pt idx="223">
                  <c:v>474.28571428571485</c:v>
                </c:pt>
                <c:pt idx="224">
                  <c:v>474.28571428571485</c:v>
                </c:pt>
                <c:pt idx="225">
                  <c:v>474.28571428571485</c:v>
                </c:pt>
                <c:pt idx="226">
                  <c:v>474.28571428571485</c:v>
                </c:pt>
                <c:pt idx="227">
                  <c:v>474.28571428571485</c:v>
                </c:pt>
                <c:pt idx="228">
                  <c:v>487.142857142857</c:v>
                </c:pt>
                <c:pt idx="229">
                  <c:v>487.142857142857</c:v>
                </c:pt>
                <c:pt idx="230">
                  <c:v>487.142857142857</c:v>
                </c:pt>
                <c:pt idx="231">
                  <c:v>487.142857142857</c:v>
                </c:pt>
                <c:pt idx="232">
                  <c:v>487.142857142857</c:v>
                </c:pt>
                <c:pt idx="233">
                  <c:v>487.142857142857</c:v>
                </c:pt>
                <c:pt idx="234">
                  <c:v>487.142857142857</c:v>
                </c:pt>
                <c:pt idx="235">
                  <c:v>516.2857142857149</c:v>
                </c:pt>
                <c:pt idx="236">
                  <c:v>516.2857142857149</c:v>
                </c:pt>
                <c:pt idx="237">
                  <c:v>516.2857142857149</c:v>
                </c:pt>
                <c:pt idx="238">
                  <c:v>516.2857142857149</c:v>
                </c:pt>
                <c:pt idx="239">
                  <c:v>516.2857142857149</c:v>
                </c:pt>
                <c:pt idx="240">
                  <c:v>516.2857142857149</c:v>
                </c:pt>
                <c:pt idx="241">
                  <c:v>516.2857142857149</c:v>
                </c:pt>
                <c:pt idx="242">
                  <c:v>564.42857142857235</c:v>
                </c:pt>
                <c:pt idx="243">
                  <c:v>564.42857142857235</c:v>
                </c:pt>
                <c:pt idx="244">
                  <c:v>564.42857142857235</c:v>
                </c:pt>
                <c:pt idx="245">
                  <c:v>564.42857142857235</c:v>
                </c:pt>
                <c:pt idx="246">
                  <c:v>564.42857142857235</c:v>
                </c:pt>
                <c:pt idx="247">
                  <c:v>564.42857142857235</c:v>
                </c:pt>
                <c:pt idx="248">
                  <c:v>564.42857142857235</c:v>
                </c:pt>
                <c:pt idx="249">
                  <c:v>512.57142857142992</c:v>
                </c:pt>
                <c:pt idx="250">
                  <c:v>512.57142857142992</c:v>
                </c:pt>
                <c:pt idx="251">
                  <c:v>512.57142857142992</c:v>
                </c:pt>
                <c:pt idx="252">
                  <c:v>512.57142857142992</c:v>
                </c:pt>
                <c:pt idx="253">
                  <c:v>512.57142857142992</c:v>
                </c:pt>
                <c:pt idx="254">
                  <c:v>512.57142857142992</c:v>
                </c:pt>
                <c:pt idx="255">
                  <c:v>512.57142857142992</c:v>
                </c:pt>
                <c:pt idx="256">
                  <c:v>480.85714285714397</c:v>
                </c:pt>
                <c:pt idx="257">
                  <c:v>480.85714285714397</c:v>
                </c:pt>
                <c:pt idx="258">
                  <c:v>480.85714285714397</c:v>
                </c:pt>
                <c:pt idx="259">
                  <c:v>480.85714285714397</c:v>
                </c:pt>
                <c:pt idx="260">
                  <c:v>480.85714285714397</c:v>
                </c:pt>
                <c:pt idx="261">
                  <c:v>480.85714285714397</c:v>
                </c:pt>
                <c:pt idx="262">
                  <c:v>480.85714285714397</c:v>
                </c:pt>
                <c:pt idx="263">
                  <c:v>499.28571428571325</c:v>
                </c:pt>
                <c:pt idx="264">
                  <c:v>499.28571428571325</c:v>
                </c:pt>
                <c:pt idx="265">
                  <c:v>499.28571428571325</c:v>
                </c:pt>
                <c:pt idx="266">
                  <c:v>499.28571428571325</c:v>
                </c:pt>
                <c:pt idx="267">
                  <c:v>499.28571428571325</c:v>
                </c:pt>
                <c:pt idx="268">
                  <c:v>499.28571428571325</c:v>
                </c:pt>
                <c:pt idx="269">
                  <c:v>499.28571428571325</c:v>
                </c:pt>
                <c:pt idx="270">
                  <c:v>617.85714285714323</c:v>
                </c:pt>
                <c:pt idx="271">
                  <c:v>617.85714285714323</c:v>
                </c:pt>
                <c:pt idx="272">
                  <c:v>617.85714285714323</c:v>
                </c:pt>
                <c:pt idx="273">
                  <c:v>617.85714285714323</c:v>
                </c:pt>
                <c:pt idx="274">
                  <c:v>617.85714285714323</c:v>
                </c:pt>
                <c:pt idx="275">
                  <c:v>617.85714285714323</c:v>
                </c:pt>
                <c:pt idx="276">
                  <c:v>617.85714285714323</c:v>
                </c:pt>
                <c:pt idx="277">
                  <c:v>526.57142857142776</c:v>
                </c:pt>
                <c:pt idx="278">
                  <c:v>526.57142857142776</c:v>
                </c:pt>
                <c:pt idx="279">
                  <c:v>526.57142857142776</c:v>
                </c:pt>
                <c:pt idx="280">
                  <c:v>526.57142857142776</c:v>
                </c:pt>
                <c:pt idx="281">
                  <c:v>526.57142857142776</c:v>
                </c:pt>
                <c:pt idx="282">
                  <c:v>526.57142857142776</c:v>
                </c:pt>
                <c:pt idx="283">
                  <c:v>526.57142857142776</c:v>
                </c:pt>
                <c:pt idx="284">
                  <c:v>554.71428571428544</c:v>
                </c:pt>
                <c:pt idx="285">
                  <c:v>554.71428571428544</c:v>
                </c:pt>
                <c:pt idx="286">
                  <c:v>554.71428571428544</c:v>
                </c:pt>
                <c:pt idx="287">
                  <c:v>554.71428571428544</c:v>
                </c:pt>
                <c:pt idx="288">
                  <c:v>554.71428571428544</c:v>
                </c:pt>
                <c:pt idx="289">
                  <c:v>554.71428571428544</c:v>
                </c:pt>
                <c:pt idx="290">
                  <c:v>554.71428571428544</c:v>
                </c:pt>
                <c:pt idx="291">
                  <c:v>509.4285714285711</c:v>
                </c:pt>
                <c:pt idx="292">
                  <c:v>509.4285714285711</c:v>
                </c:pt>
                <c:pt idx="293">
                  <c:v>509.4285714285711</c:v>
                </c:pt>
                <c:pt idx="294">
                  <c:v>509.4285714285711</c:v>
                </c:pt>
                <c:pt idx="295">
                  <c:v>509.4285714285711</c:v>
                </c:pt>
                <c:pt idx="296">
                  <c:v>509.4285714285711</c:v>
                </c:pt>
                <c:pt idx="297">
                  <c:v>509.4285714285711</c:v>
                </c:pt>
                <c:pt idx="298">
                  <c:v>484.85714285714255</c:v>
                </c:pt>
                <c:pt idx="299">
                  <c:v>484.85714285714255</c:v>
                </c:pt>
                <c:pt idx="300">
                  <c:v>484.85714285714255</c:v>
                </c:pt>
                <c:pt idx="301">
                  <c:v>484.85714285714255</c:v>
                </c:pt>
                <c:pt idx="302">
                  <c:v>484.85714285714255</c:v>
                </c:pt>
                <c:pt idx="303">
                  <c:v>484.85714285714255</c:v>
                </c:pt>
                <c:pt idx="304">
                  <c:v>484.85714285714255</c:v>
                </c:pt>
                <c:pt idx="305">
                  <c:v>484.85714285714255</c:v>
                </c:pt>
                <c:pt idx="306">
                  <c:v>507.14285714285717</c:v>
                </c:pt>
                <c:pt idx="307">
                  <c:v>507.14285714285717</c:v>
                </c:pt>
                <c:pt idx="308">
                  <c:v>507.14285714285717</c:v>
                </c:pt>
                <c:pt idx="309">
                  <c:v>507.14285714285717</c:v>
                </c:pt>
                <c:pt idx="310">
                  <c:v>507.14285714285717</c:v>
                </c:pt>
                <c:pt idx="311">
                  <c:v>507.14285714285717</c:v>
                </c:pt>
                <c:pt idx="312">
                  <c:v>507.14285714285717</c:v>
                </c:pt>
                <c:pt idx="313">
                  <c:v>548.00000000000034</c:v>
                </c:pt>
                <c:pt idx="314">
                  <c:v>548.00000000000034</c:v>
                </c:pt>
                <c:pt idx="315">
                  <c:v>548.00000000000034</c:v>
                </c:pt>
                <c:pt idx="316">
                  <c:v>548.00000000000034</c:v>
                </c:pt>
                <c:pt idx="317">
                  <c:v>548.00000000000034</c:v>
                </c:pt>
                <c:pt idx="318">
                  <c:v>548.00000000000034</c:v>
                </c:pt>
                <c:pt idx="319">
                  <c:v>548.00000000000034</c:v>
                </c:pt>
                <c:pt idx="320">
                  <c:v>553.71428571428601</c:v>
                </c:pt>
                <c:pt idx="321">
                  <c:v>553.71428571428601</c:v>
                </c:pt>
                <c:pt idx="322">
                  <c:v>553.71428571428601</c:v>
                </c:pt>
                <c:pt idx="323">
                  <c:v>553.71428571428601</c:v>
                </c:pt>
                <c:pt idx="324">
                  <c:v>553.71428571428601</c:v>
                </c:pt>
                <c:pt idx="325">
                  <c:v>553.71428571428601</c:v>
                </c:pt>
                <c:pt idx="326">
                  <c:v>553.71428571428601</c:v>
                </c:pt>
                <c:pt idx="327">
                  <c:v>543.99999999999909</c:v>
                </c:pt>
                <c:pt idx="328">
                  <c:v>543.99999999999909</c:v>
                </c:pt>
                <c:pt idx="329">
                  <c:v>543.99999999999909</c:v>
                </c:pt>
                <c:pt idx="330">
                  <c:v>543.99999999999909</c:v>
                </c:pt>
                <c:pt idx="331">
                  <c:v>543.99999999999909</c:v>
                </c:pt>
                <c:pt idx="332">
                  <c:v>543.99999999999909</c:v>
                </c:pt>
                <c:pt idx="333">
                  <c:v>543.99999999999909</c:v>
                </c:pt>
                <c:pt idx="334">
                  <c:v>596.57142857142901</c:v>
                </c:pt>
                <c:pt idx="335">
                  <c:v>596.57142857142901</c:v>
                </c:pt>
                <c:pt idx="336">
                  <c:v>596.57142857142901</c:v>
                </c:pt>
                <c:pt idx="337">
                  <c:v>596.57142857142901</c:v>
                </c:pt>
                <c:pt idx="338">
                  <c:v>596.57142857142901</c:v>
                </c:pt>
                <c:pt idx="339">
                  <c:v>596.57142857142901</c:v>
                </c:pt>
                <c:pt idx="340">
                  <c:v>596.57142857142901</c:v>
                </c:pt>
                <c:pt idx="341">
                  <c:v>534.28571428571399</c:v>
                </c:pt>
                <c:pt idx="342">
                  <c:v>534.28571428571399</c:v>
                </c:pt>
                <c:pt idx="343">
                  <c:v>534.28571428571399</c:v>
                </c:pt>
                <c:pt idx="344">
                  <c:v>534.28571428571399</c:v>
                </c:pt>
                <c:pt idx="345">
                  <c:v>534.28571428571399</c:v>
                </c:pt>
                <c:pt idx="346">
                  <c:v>534.28571428571399</c:v>
                </c:pt>
                <c:pt idx="347">
                  <c:v>534.28571428571399</c:v>
                </c:pt>
                <c:pt idx="348">
                  <c:v>548.99999999999932</c:v>
                </c:pt>
                <c:pt idx="349">
                  <c:v>548.99999999999932</c:v>
                </c:pt>
                <c:pt idx="350">
                  <c:v>548.99999999999932</c:v>
                </c:pt>
                <c:pt idx="351">
                  <c:v>548.99999999999932</c:v>
                </c:pt>
                <c:pt idx="352">
                  <c:v>548.99999999999932</c:v>
                </c:pt>
                <c:pt idx="353">
                  <c:v>548.99999999999932</c:v>
                </c:pt>
                <c:pt idx="354">
                  <c:v>548.99999999999932</c:v>
                </c:pt>
                <c:pt idx="355">
                  <c:v>540.8571428571438</c:v>
                </c:pt>
                <c:pt idx="356">
                  <c:v>540.8571428571438</c:v>
                </c:pt>
                <c:pt idx="357">
                  <c:v>540.8571428571438</c:v>
                </c:pt>
                <c:pt idx="358">
                  <c:v>540.8571428571438</c:v>
                </c:pt>
                <c:pt idx="359">
                  <c:v>540.8571428571438</c:v>
                </c:pt>
                <c:pt idx="360">
                  <c:v>540.8571428571438</c:v>
                </c:pt>
                <c:pt idx="361">
                  <c:v>540.8571428571438</c:v>
                </c:pt>
                <c:pt idx="362">
                  <c:v>608.5714285714306</c:v>
                </c:pt>
                <c:pt idx="363">
                  <c:v>608.5714285714306</c:v>
                </c:pt>
                <c:pt idx="364">
                  <c:v>608.5714285714306</c:v>
                </c:pt>
                <c:pt idx="365">
                  <c:v>608.5714285714306</c:v>
                </c:pt>
                <c:pt idx="366">
                  <c:v>608.5714285714306</c:v>
                </c:pt>
                <c:pt idx="367">
                  <c:v>608.5714285714306</c:v>
                </c:pt>
                <c:pt idx="368">
                  <c:v>608.5714285714306</c:v>
                </c:pt>
                <c:pt idx="369">
                  <c:v>579.00000000000023</c:v>
                </c:pt>
                <c:pt idx="370">
                  <c:v>579.00000000000023</c:v>
                </c:pt>
                <c:pt idx="371">
                  <c:v>579.00000000000023</c:v>
                </c:pt>
                <c:pt idx="372">
                  <c:v>579.00000000000023</c:v>
                </c:pt>
                <c:pt idx="373">
                  <c:v>579.00000000000023</c:v>
                </c:pt>
                <c:pt idx="374">
                  <c:v>579.00000000000023</c:v>
                </c:pt>
                <c:pt idx="375">
                  <c:v>579.00000000000023</c:v>
                </c:pt>
                <c:pt idx="376">
                  <c:v>586.57142857142867</c:v>
                </c:pt>
                <c:pt idx="377">
                  <c:v>586.57142857142867</c:v>
                </c:pt>
                <c:pt idx="378">
                  <c:v>586.57142857142867</c:v>
                </c:pt>
                <c:pt idx="379">
                  <c:v>586.57142857142867</c:v>
                </c:pt>
                <c:pt idx="380">
                  <c:v>586.57142857142867</c:v>
                </c:pt>
                <c:pt idx="381">
                  <c:v>586.57142857142867</c:v>
                </c:pt>
                <c:pt idx="382">
                  <c:v>586.57142857142867</c:v>
                </c:pt>
                <c:pt idx="383">
                  <c:v>548.85714285714175</c:v>
                </c:pt>
                <c:pt idx="384">
                  <c:v>548.85714285714175</c:v>
                </c:pt>
                <c:pt idx="385">
                  <c:v>548.85714285714175</c:v>
                </c:pt>
                <c:pt idx="386">
                  <c:v>548.85714285714175</c:v>
                </c:pt>
                <c:pt idx="387">
                  <c:v>548.85714285714175</c:v>
                </c:pt>
                <c:pt idx="388">
                  <c:v>548.85714285714175</c:v>
                </c:pt>
                <c:pt idx="389">
                  <c:v>548.85714285714175</c:v>
                </c:pt>
                <c:pt idx="390">
                  <c:v>567.00000000000011</c:v>
                </c:pt>
                <c:pt idx="391">
                  <c:v>567.00000000000011</c:v>
                </c:pt>
                <c:pt idx="392">
                  <c:v>567.00000000000011</c:v>
                </c:pt>
                <c:pt idx="393">
                  <c:v>567.00000000000011</c:v>
                </c:pt>
                <c:pt idx="394">
                  <c:v>567.00000000000011</c:v>
                </c:pt>
                <c:pt idx="395">
                  <c:v>567.00000000000011</c:v>
                </c:pt>
                <c:pt idx="396">
                  <c:v>567.00000000000011</c:v>
                </c:pt>
                <c:pt idx="397">
                  <c:v>553.71428571428498</c:v>
                </c:pt>
                <c:pt idx="398">
                  <c:v>553.71428571428498</c:v>
                </c:pt>
                <c:pt idx="399">
                  <c:v>553.71428571428498</c:v>
                </c:pt>
                <c:pt idx="400">
                  <c:v>553.71428571428498</c:v>
                </c:pt>
                <c:pt idx="401">
                  <c:v>553.71428571428498</c:v>
                </c:pt>
                <c:pt idx="402">
                  <c:v>553.71428571428498</c:v>
                </c:pt>
                <c:pt idx="403">
                  <c:v>553.71428571428498</c:v>
                </c:pt>
                <c:pt idx="404">
                  <c:v>552.71428571428589</c:v>
                </c:pt>
                <c:pt idx="405">
                  <c:v>552.71428571428589</c:v>
                </c:pt>
                <c:pt idx="406">
                  <c:v>552.71428571428589</c:v>
                </c:pt>
                <c:pt idx="407">
                  <c:v>552.71428571428589</c:v>
                </c:pt>
                <c:pt idx="408">
                  <c:v>552.71428571428589</c:v>
                </c:pt>
                <c:pt idx="409">
                  <c:v>552.71428571428589</c:v>
                </c:pt>
                <c:pt idx="410">
                  <c:v>552.71428571428589</c:v>
                </c:pt>
                <c:pt idx="411">
                  <c:v>512.00000000000125</c:v>
                </c:pt>
                <c:pt idx="412">
                  <c:v>512.00000000000125</c:v>
                </c:pt>
                <c:pt idx="413">
                  <c:v>512.00000000000125</c:v>
                </c:pt>
                <c:pt idx="414">
                  <c:v>512.00000000000125</c:v>
                </c:pt>
                <c:pt idx="415">
                  <c:v>512.00000000000125</c:v>
                </c:pt>
                <c:pt idx="416">
                  <c:v>512.00000000000125</c:v>
                </c:pt>
                <c:pt idx="417">
                  <c:v>512.00000000000125</c:v>
                </c:pt>
                <c:pt idx="418">
                  <c:v>539.0000000000008</c:v>
                </c:pt>
                <c:pt idx="419">
                  <c:v>539.0000000000008</c:v>
                </c:pt>
                <c:pt idx="420">
                  <c:v>539.0000000000008</c:v>
                </c:pt>
                <c:pt idx="421">
                  <c:v>539.0000000000008</c:v>
                </c:pt>
                <c:pt idx="422">
                  <c:v>539.0000000000008</c:v>
                </c:pt>
                <c:pt idx="423">
                  <c:v>539.0000000000008</c:v>
                </c:pt>
                <c:pt idx="424">
                  <c:v>539.0000000000008</c:v>
                </c:pt>
                <c:pt idx="425">
                  <c:v>538.85714285714198</c:v>
                </c:pt>
                <c:pt idx="426">
                  <c:v>538.85714285714198</c:v>
                </c:pt>
                <c:pt idx="427">
                  <c:v>538.85714285714198</c:v>
                </c:pt>
                <c:pt idx="428">
                  <c:v>538.85714285714198</c:v>
                </c:pt>
                <c:pt idx="429">
                  <c:v>538.85714285714198</c:v>
                </c:pt>
                <c:pt idx="430">
                  <c:v>538.85714285714198</c:v>
                </c:pt>
                <c:pt idx="431">
                  <c:v>538.85714285714198</c:v>
                </c:pt>
                <c:pt idx="432">
                  <c:v>519.00000000000034</c:v>
                </c:pt>
                <c:pt idx="433">
                  <c:v>519.00000000000034</c:v>
                </c:pt>
                <c:pt idx="434">
                  <c:v>519.00000000000034</c:v>
                </c:pt>
                <c:pt idx="435">
                  <c:v>519.00000000000034</c:v>
                </c:pt>
                <c:pt idx="436">
                  <c:v>519.00000000000034</c:v>
                </c:pt>
                <c:pt idx="437">
                  <c:v>519.00000000000034</c:v>
                </c:pt>
                <c:pt idx="438">
                  <c:v>519.00000000000034</c:v>
                </c:pt>
                <c:pt idx="439">
                  <c:v>478.85714285714306</c:v>
                </c:pt>
                <c:pt idx="440">
                  <c:v>478.85714285714306</c:v>
                </c:pt>
                <c:pt idx="441">
                  <c:v>478.85714285714306</c:v>
                </c:pt>
                <c:pt idx="442">
                  <c:v>478.85714285714306</c:v>
                </c:pt>
                <c:pt idx="443">
                  <c:v>478.85714285714306</c:v>
                </c:pt>
                <c:pt idx="444">
                  <c:v>478.85714285714306</c:v>
                </c:pt>
                <c:pt idx="445">
                  <c:v>478.85714285714306</c:v>
                </c:pt>
                <c:pt idx="446">
                  <c:v>487.71428571428561</c:v>
                </c:pt>
                <c:pt idx="447">
                  <c:v>487.71428571428561</c:v>
                </c:pt>
                <c:pt idx="448">
                  <c:v>487.71428571428561</c:v>
                </c:pt>
                <c:pt idx="449">
                  <c:v>487.71428571428561</c:v>
                </c:pt>
                <c:pt idx="450">
                  <c:v>487.71428571428561</c:v>
                </c:pt>
                <c:pt idx="451">
                  <c:v>487.71428571428561</c:v>
                </c:pt>
                <c:pt idx="452">
                  <c:v>487.71428571428561</c:v>
                </c:pt>
                <c:pt idx="453">
                  <c:v>502.99999999999989</c:v>
                </c:pt>
                <c:pt idx="454">
                  <c:v>502.99999999999989</c:v>
                </c:pt>
                <c:pt idx="455">
                  <c:v>502.99999999999989</c:v>
                </c:pt>
                <c:pt idx="456">
                  <c:v>502.99999999999989</c:v>
                </c:pt>
                <c:pt idx="457">
                  <c:v>502.99999999999989</c:v>
                </c:pt>
                <c:pt idx="458">
                  <c:v>502.99999999999989</c:v>
                </c:pt>
                <c:pt idx="459">
                  <c:v>502.99999999999989</c:v>
                </c:pt>
                <c:pt idx="460">
                  <c:v>474.57142857142884</c:v>
                </c:pt>
                <c:pt idx="461">
                  <c:v>474.57142857142884</c:v>
                </c:pt>
                <c:pt idx="462">
                  <c:v>474.57142857142884</c:v>
                </c:pt>
                <c:pt idx="463">
                  <c:v>474.57142857142884</c:v>
                </c:pt>
                <c:pt idx="464">
                  <c:v>474.57142857142884</c:v>
                </c:pt>
                <c:pt idx="465">
                  <c:v>474.57142857142884</c:v>
                </c:pt>
                <c:pt idx="466">
                  <c:v>474.57142857142884</c:v>
                </c:pt>
                <c:pt idx="467">
                  <c:v>502.28571428571422</c:v>
                </c:pt>
                <c:pt idx="468">
                  <c:v>502.28571428571422</c:v>
                </c:pt>
                <c:pt idx="469">
                  <c:v>502.28571428571422</c:v>
                </c:pt>
                <c:pt idx="470">
                  <c:v>502.28571428571422</c:v>
                </c:pt>
                <c:pt idx="471">
                  <c:v>502.28571428571422</c:v>
                </c:pt>
                <c:pt idx="472">
                  <c:v>502.28571428571422</c:v>
                </c:pt>
                <c:pt idx="473">
                  <c:v>502.28571428571422</c:v>
                </c:pt>
                <c:pt idx="474">
                  <c:v>464.00000000000045</c:v>
                </c:pt>
                <c:pt idx="475">
                  <c:v>464.00000000000045</c:v>
                </c:pt>
                <c:pt idx="476">
                  <c:v>464.00000000000045</c:v>
                </c:pt>
                <c:pt idx="477">
                  <c:v>464.00000000000045</c:v>
                </c:pt>
                <c:pt idx="478">
                  <c:v>464.00000000000045</c:v>
                </c:pt>
                <c:pt idx="479">
                  <c:v>464.00000000000045</c:v>
                </c:pt>
                <c:pt idx="480">
                  <c:v>464.00000000000045</c:v>
                </c:pt>
                <c:pt idx="481">
                  <c:v>520.4285714285719</c:v>
                </c:pt>
                <c:pt idx="482">
                  <c:v>520.4285714285719</c:v>
                </c:pt>
                <c:pt idx="483">
                  <c:v>520.4285714285719</c:v>
                </c:pt>
                <c:pt idx="484">
                  <c:v>520.4285714285719</c:v>
                </c:pt>
                <c:pt idx="485">
                  <c:v>520.4285714285719</c:v>
                </c:pt>
                <c:pt idx="486">
                  <c:v>520.4285714285719</c:v>
                </c:pt>
                <c:pt idx="487">
                  <c:v>520.4285714285719</c:v>
                </c:pt>
                <c:pt idx="488">
                  <c:v>416.85714285714283</c:v>
                </c:pt>
                <c:pt idx="489">
                  <c:v>416.85714285714283</c:v>
                </c:pt>
                <c:pt idx="490">
                  <c:v>416.85714285714283</c:v>
                </c:pt>
                <c:pt idx="491">
                  <c:v>416.85714285714283</c:v>
                </c:pt>
                <c:pt idx="492">
                  <c:v>416.85714285714283</c:v>
                </c:pt>
                <c:pt idx="493">
                  <c:v>416.85714285714283</c:v>
                </c:pt>
                <c:pt idx="494">
                  <c:v>416.85714285714283</c:v>
                </c:pt>
                <c:pt idx="495">
                  <c:v>458.71428571428595</c:v>
                </c:pt>
                <c:pt idx="496">
                  <c:v>458.71428571428595</c:v>
                </c:pt>
                <c:pt idx="497">
                  <c:v>458.71428571428595</c:v>
                </c:pt>
                <c:pt idx="498">
                  <c:v>458.71428571428595</c:v>
                </c:pt>
                <c:pt idx="499">
                  <c:v>458.71428571428595</c:v>
                </c:pt>
                <c:pt idx="500">
                  <c:v>458.71428571428595</c:v>
                </c:pt>
                <c:pt idx="501">
                  <c:v>458.71428571428595</c:v>
                </c:pt>
                <c:pt idx="502">
                  <c:v>457.99999999999926</c:v>
                </c:pt>
                <c:pt idx="503">
                  <c:v>457.99999999999926</c:v>
                </c:pt>
                <c:pt idx="504">
                  <c:v>457.99999999999926</c:v>
                </c:pt>
                <c:pt idx="505">
                  <c:v>457.99999999999926</c:v>
                </c:pt>
                <c:pt idx="506">
                  <c:v>457.99999999999926</c:v>
                </c:pt>
                <c:pt idx="507">
                  <c:v>457.99999999999926</c:v>
                </c:pt>
                <c:pt idx="508">
                  <c:v>457.99999999999926</c:v>
                </c:pt>
                <c:pt idx="509">
                  <c:v>455.85714285714249</c:v>
                </c:pt>
                <c:pt idx="510">
                  <c:v>455.85714285714249</c:v>
                </c:pt>
                <c:pt idx="511">
                  <c:v>455.85714285714249</c:v>
                </c:pt>
                <c:pt idx="512">
                  <c:v>455.85714285714249</c:v>
                </c:pt>
                <c:pt idx="513">
                  <c:v>455.85714285714249</c:v>
                </c:pt>
                <c:pt idx="514">
                  <c:v>455.85714285714249</c:v>
                </c:pt>
                <c:pt idx="515">
                  <c:v>455.85714285714249</c:v>
                </c:pt>
                <c:pt idx="516">
                  <c:v>458.14285714285722</c:v>
                </c:pt>
                <c:pt idx="517">
                  <c:v>458.14285714285722</c:v>
                </c:pt>
                <c:pt idx="518">
                  <c:v>458.14285714285722</c:v>
                </c:pt>
                <c:pt idx="519">
                  <c:v>458.14285714285722</c:v>
                </c:pt>
                <c:pt idx="520">
                  <c:v>458.14285714285722</c:v>
                </c:pt>
                <c:pt idx="521">
                  <c:v>458.14285714285722</c:v>
                </c:pt>
                <c:pt idx="522">
                  <c:v>458.14285714285722</c:v>
                </c:pt>
                <c:pt idx="523">
                  <c:v>414.42857142857144</c:v>
                </c:pt>
                <c:pt idx="524">
                  <c:v>414.42857142857144</c:v>
                </c:pt>
                <c:pt idx="525">
                  <c:v>414.42857142857144</c:v>
                </c:pt>
                <c:pt idx="526">
                  <c:v>414.42857142857144</c:v>
                </c:pt>
                <c:pt idx="527">
                  <c:v>414.42857142857144</c:v>
                </c:pt>
                <c:pt idx="528">
                  <c:v>414.42857142857144</c:v>
                </c:pt>
                <c:pt idx="529">
                  <c:v>414.42857142857144</c:v>
                </c:pt>
                <c:pt idx="530">
                  <c:v>435.99999999999966</c:v>
                </c:pt>
                <c:pt idx="531">
                  <c:v>435.999999999999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00C-4D9E-877E-BAA6BF3C05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2805536"/>
        <c:axId val="1993892816"/>
      </c:lineChart>
      <c:dateAx>
        <c:axId val="1812805536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993892816"/>
        <c:crosses val="autoZero"/>
        <c:auto val="1"/>
        <c:lblOffset val="100"/>
        <c:baseTimeUnit val="days"/>
      </c:dateAx>
      <c:valAx>
        <c:axId val="19938928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812805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60501</c:v>
                </c:pt>
                <c:pt idx="1">
                  <c:v>168539</c:v>
                </c:pt>
                <c:pt idx="2">
                  <c:v>175251</c:v>
                </c:pt>
                <c:pt idx="3">
                  <c:v>175897</c:v>
                </c:pt>
                <c:pt idx="4">
                  <c:v>176898</c:v>
                </c:pt>
                <c:pt idx="5">
                  <c:v>174354</c:v>
                </c:pt>
                <c:pt idx="6">
                  <c:v>143740</c:v>
                </c:pt>
                <c:pt idx="7">
                  <c:v>144606</c:v>
                </c:pt>
                <c:pt idx="8">
                  <c:v>163251</c:v>
                </c:pt>
                <c:pt idx="9">
                  <c:v>166123</c:v>
                </c:pt>
                <c:pt idx="10">
                  <c:v>169527</c:v>
                </c:pt>
                <c:pt idx="11">
                  <c:v>161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EC-4729-BEF9-2F1F688F906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68295</c:v>
                </c:pt>
                <c:pt idx="1">
                  <c:v>162182</c:v>
                </c:pt>
                <c:pt idx="2">
                  <c:v>183369</c:v>
                </c:pt>
                <c:pt idx="3">
                  <c:v>160840</c:v>
                </c:pt>
                <c:pt idx="4">
                  <c:v>171241</c:v>
                </c:pt>
                <c:pt idx="5">
                  <c:v>174232</c:v>
                </c:pt>
                <c:pt idx="6">
                  <c:v>137472</c:v>
                </c:pt>
                <c:pt idx="7">
                  <c:v>144444</c:v>
                </c:pt>
                <c:pt idx="8">
                  <c:v>157561</c:v>
                </c:pt>
                <c:pt idx="9">
                  <c:v>170228</c:v>
                </c:pt>
                <c:pt idx="10">
                  <c:v>169315</c:v>
                </c:pt>
                <c:pt idx="11">
                  <c:v>153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EC-4729-BEF9-2F1F688F906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6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166200</c:v>
                </c:pt>
                <c:pt idx="1">
                  <c:v>158822</c:v>
                </c:pt>
                <c:pt idx="2">
                  <c:v>179036</c:v>
                </c:pt>
                <c:pt idx="3">
                  <c:v>164863</c:v>
                </c:pt>
                <c:pt idx="4">
                  <c:v>167129</c:v>
                </c:pt>
                <c:pt idx="5">
                  <c:v>169119</c:v>
                </c:pt>
                <c:pt idx="6">
                  <c:v>139512</c:v>
                </c:pt>
                <c:pt idx="7">
                  <c:v>145573</c:v>
                </c:pt>
                <c:pt idx="8">
                  <c:v>153428</c:v>
                </c:pt>
                <c:pt idx="9">
                  <c:v>173041</c:v>
                </c:pt>
                <c:pt idx="10">
                  <c:v>171307</c:v>
                </c:pt>
                <c:pt idx="11">
                  <c:v>1455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EC-4729-BEF9-2F1F688F906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63368</c:v>
                </c:pt>
                <c:pt idx="1">
                  <c:v>157857</c:v>
                </c:pt>
                <c:pt idx="2">
                  <c:v>173441</c:v>
                </c:pt>
                <c:pt idx="3">
                  <c:v>165594</c:v>
                </c:pt>
                <c:pt idx="4">
                  <c:v>168761</c:v>
                </c:pt>
                <c:pt idx="5">
                  <c:v>164338</c:v>
                </c:pt>
                <c:pt idx="6">
                  <c:v>144585</c:v>
                </c:pt>
                <c:pt idx="7">
                  <c:v>141454</c:v>
                </c:pt>
                <c:pt idx="8">
                  <c:v>155934</c:v>
                </c:pt>
                <c:pt idx="9">
                  <c:v>171160</c:v>
                </c:pt>
                <c:pt idx="10">
                  <c:v>167897</c:v>
                </c:pt>
                <c:pt idx="11">
                  <c:v>148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1F-43BA-8D97-0036702659BA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F$2:$F$13</c:f>
              <c:numCache>
                <c:formatCode>General</c:formatCode>
                <c:ptCount val="12"/>
                <c:pt idx="0">
                  <c:v>162390</c:v>
                </c:pt>
                <c:pt idx="1">
                  <c:v>159392</c:v>
                </c:pt>
                <c:pt idx="2">
                  <c:v>134490</c:v>
                </c:pt>
                <c:pt idx="3">
                  <c:v>93921</c:v>
                </c:pt>
                <c:pt idx="4">
                  <c:v>132342</c:v>
                </c:pt>
                <c:pt idx="5">
                  <c:v>157678</c:v>
                </c:pt>
                <c:pt idx="6">
                  <c:v>148660</c:v>
                </c:pt>
                <c:pt idx="7">
                  <c:v>134727</c:v>
                </c:pt>
                <c:pt idx="8">
                  <c:v>151903</c:v>
                </c:pt>
                <c:pt idx="9">
                  <c:v>142006</c:v>
                </c:pt>
                <c:pt idx="10">
                  <c:v>109081</c:v>
                </c:pt>
                <c:pt idx="11">
                  <c:v>1231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F1F-43BA-8D97-0036702659BA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G$2:$G$13</c:f>
              <c:numCache>
                <c:formatCode>General</c:formatCode>
                <c:ptCount val="12"/>
                <c:pt idx="0">
                  <c:v>115916</c:v>
                </c:pt>
                <c:pt idx="1">
                  <c:v>118321</c:v>
                </c:pt>
                <c:pt idx="2">
                  <c:v>127898</c:v>
                </c:pt>
                <c:pt idx="3">
                  <c:v>123912</c:v>
                </c:pt>
                <c:pt idx="4">
                  <c:v>133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1D-4C2B-81C0-CBEB7F89F6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  <c:max val="2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čet hospitalizací</a:t>
                </a:r>
              </a:p>
            </c:rich>
          </c:tx>
          <c:layout>
            <c:manualLayout>
              <c:xMode val="edge"/>
              <c:yMode val="edge"/>
              <c:x val="1.0061544433866473E-2"/>
              <c:y val="0.201335987383635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770</c:v>
                </c:pt>
                <c:pt idx="1">
                  <c:v>1660</c:v>
                </c:pt>
                <c:pt idx="2">
                  <c:v>1915</c:v>
                </c:pt>
                <c:pt idx="3">
                  <c:v>1863</c:v>
                </c:pt>
                <c:pt idx="4">
                  <c:v>1944</c:v>
                </c:pt>
                <c:pt idx="5">
                  <c:v>1618</c:v>
                </c:pt>
                <c:pt idx="6">
                  <c:v>1720</c:v>
                </c:pt>
                <c:pt idx="7">
                  <c:v>1530</c:v>
                </c:pt>
                <c:pt idx="8">
                  <c:v>1557</c:v>
                </c:pt>
                <c:pt idx="9">
                  <c:v>1767</c:v>
                </c:pt>
                <c:pt idx="10">
                  <c:v>1776</c:v>
                </c:pt>
                <c:pt idx="11">
                  <c:v>1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EC-4729-BEF9-2F1F688F906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847</c:v>
                </c:pt>
                <c:pt idx="1">
                  <c:v>1682</c:v>
                </c:pt>
                <c:pt idx="2">
                  <c:v>1753</c:v>
                </c:pt>
                <c:pt idx="3">
                  <c:v>1808</c:v>
                </c:pt>
                <c:pt idx="4">
                  <c:v>1914</c:v>
                </c:pt>
                <c:pt idx="5">
                  <c:v>1633</c:v>
                </c:pt>
                <c:pt idx="6">
                  <c:v>1669</c:v>
                </c:pt>
                <c:pt idx="7">
                  <c:v>1594</c:v>
                </c:pt>
                <c:pt idx="8">
                  <c:v>1595</c:v>
                </c:pt>
                <c:pt idx="9">
                  <c:v>1718</c:v>
                </c:pt>
                <c:pt idx="10">
                  <c:v>1746</c:v>
                </c:pt>
                <c:pt idx="11">
                  <c:v>1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EC-4729-BEF9-2F1F688F906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1786</c:v>
                </c:pt>
                <c:pt idx="1">
                  <c:v>1540</c:v>
                </c:pt>
                <c:pt idx="2">
                  <c:v>1460</c:v>
                </c:pt>
                <c:pt idx="3">
                  <c:v>1454</c:v>
                </c:pt>
                <c:pt idx="4">
                  <c:v>1645</c:v>
                </c:pt>
                <c:pt idx="5">
                  <c:v>1846</c:v>
                </c:pt>
                <c:pt idx="6">
                  <c:v>1690</c:v>
                </c:pt>
                <c:pt idx="7">
                  <c:v>1445</c:v>
                </c:pt>
                <c:pt idx="8">
                  <c:v>1521</c:v>
                </c:pt>
                <c:pt idx="9">
                  <c:v>1403</c:v>
                </c:pt>
                <c:pt idx="10">
                  <c:v>1390</c:v>
                </c:pt>
                <c:pt idx="11">
                  <c:v>1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EC-4729-BEF9-2F1F688F906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462006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369</c:v>
                </c:pt>
                <c:pt idx="1">
                  <c:v>1287</c:v>
                </c:pt>
                <c:pt idx="2">
                  <c:v>1425</c:v>
                </c:pt>
                <c:pt idx="3">
                  <c:v>1423</c:v>
                </c:pt>
                <c:pt idx="4">
                  <c:v>1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8E-4AA5-A464-D91B166AA4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čet hospitalizací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201335987383635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/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B$2:$B$13</c:f>
              <c:numCache>
                <c:formatCode>General</c:formatCode>
                <c:ptCount val="12"/>
                <c:pt idx="0">
                  <c:v>3500</c:v>
                </c:pt>
                <c:pt idx="1">
                  <c:v>3143</c:v>
                </c:pt>
                <c:pt idx="2">
                  <c:v>3607</c:v>
                </c:pt>
                <c:pt idx="3">
                  <c:v>3643</c:v>
                </c:pt>
                <c:pt idx="4">
                  <c:v>3790</c:v>
                </c:pt>
                <c:pt idx="5">
                  <c:v>3390</c:v>
                </c:pt>
                <c:pt idx="6">
                  <c:v>3305</c:v>
                </c:pt>
                <c:pt idx="7">
                  <c:v>2821</c:v>
                </c:pt>
                <c:pt idx="8">
                  <c:v>2834</c:v>
                </c:pt>
                <c:pt idx="9">
                  <c:v>3626</c:v>
                </c:pt>
                <c:pt idx="10">
                  <c:v>3541</c:v>
                </c:pt>
                <c:pt idx="11">
                  <c:v>3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EC-4729-BEF9-2F1F688F906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C$2:$C$13</c:f>
              <c:numCache>
                <c:formatCode>General</c:formatCode>
                <c:ptCount val="12"/>
                <c:pt idx="0">
                  <c:v>3574</c:v>
                </c:pt>
                <c:pt idx="1">
                  <c:v>3322</c:v>
                </c:pt>
                <c:pt idx="2">
                  <c:v>3766</c:v>
                </c:pt>
                <c:pt idx="3">
                  <c:v>3731</c:v>
                </c:pt>
                <c:pt idx="4">
                  <c:v>3962</c:v>
                </c:pt>
                <c:pt idx="5">
                  <c:v>3277</c:v>
                </c:pt>
                <c:pt idx="6">
                  <c:v>3201</c:v>
                </c:pt>
                <c:pt idx="7">
                  <c:v>3201</c:v>
                </c:pt>
                <c:pt idx="8">
                  <c:v>3099</c:v>
                </c:pt>
                <c:pt idx="9">
                  <c:v>3624</c:v>
                </c:pt>
                <c:pt idx="10">
                  <c:v>3424</c:v>
                </c:pt>
                <c:pt idx="11">
                  <c:v>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EC-4729-BEF9-2F1F688F906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D$2:$D$13</c:f>
              <c:numCache>
                <c:formatCode>General</c:formatCode>
                <c:ptCount val="12"/>
                <c:pt idx="0">
                  <c:v>3695</c:v>
                </c:pt>
                <c:pt idx="1">
                  <c:v>3294</c:v>
                </c:pt>
                <c:pt idx="2">
                  <c:v>3121</c:v>
                </c:pt>
                <c:pt idx="3">
                  <c:v>2733</c:v>
                </c:pt>
                <c:pt idx="4">
                  <c:v>3523</c:v>
                </c:pt>
                <c:pt idx="5">
                  <c:v>3818</c:v>
                </c:pt>
                <c:pt idx="6">
                  <c:v>3587</c:v>
                </c:pt>
                <c:pt idx="7">
                  <c:v>3051</c:v>
                </c:pt>
                <c:pt idx="8">
                  <c:v>3171</c:v>
                </c:pt>
                <c:pt idx="9">
                  <c:v>2998</c:v>
                </c:pt>
                <c:pt idx="10">
                  <c:v>2277</c:v>
                </c:pt>
                <c:pt idx="11">
                  <c:v>3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EC-4729-BEF9-2F1F688F906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462006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List1!$A$2:$A$13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List1!$E$2:$E$13</c:f>
              <c:numCache>
                <c:formatCode>General</c:formatCode>
                <c:ptCount val="12"/>
                <c:pt idx="0">
                  <c:v>2521</c:v>
                </c:pt>
                <c:pt idx="1">
                  <c:v>2492</c:v>
                </c:pt>
                <c:pt idx="2">
                  <c:v>2869</c:v>
                </c:pt>
                <c:pt idx="3">
                  <c:v>3021</c:v>
                </c:pt>
                <c:pt idx="4">
                  <c:v>32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BF-477D-AD4F-1E56345FB4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355573423"/>
        <c:axId val="1347633295"/>
      </c:barChart>
      <c:catAx>
        <c:axId val="13555734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47633295"/>
        <c:crosses val="autoZero"/>
        <c:auto val="1"/>
        <c:lblAlgn val="ctr"/>
        <c:lblOffset val="100"/>
        <c:noMultiLvlLbl val="0"/>
      </c:catAx>
      <c:valAx>
        <c:axId val="13476332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čet hospitalizací</a:t>
                </a:r>
              </a:p>
            </c:rich>
          </c:tx>
          <c:layout>
            <c:manualLayout>
              <c:xMode val="edge"/>
              <c:yMode val="edge"/>
              <c:x val="3.3538481446221571E-3"/>
              <c:y val="0.201335987383635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55573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93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076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810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6749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467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148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sv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5.svg"/><Relationship Id="rId4" Type="http://schemas.openxmlformats.org/officeDocument/2006/relationships/image" Target="../media/image1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image" Target="../media/image31.emf"/><Relationship Id="rId3" Type="http://schemas.openxmlformats.org/officeDocument/2006/relationships/image" Target="../media/image22.emf"/><Relationship Id="rId7" Type="http://schemas.openxmlformats.org/officeDocument/2006/relationships/image" Target="../media/image25.emf"/><Relationship Id="rId12" Type="http://schemas.openxmlformats.org/officeDocument/2006/relationships/image" Target="../media/image30.emf"/><Relationship Id="rId2" Type="http://schemas.openxmlformats.org/officeDocument/2006/relationships/slideMaster" Target="../slideMasters/slideMaster6.xml"/><Relationship Id="rId16" Type="http://schemas.openxmlformats.org/officeDocument/2006/relationships/image" Target="../media/image34.jpeg"/><Relationship Id="rId1" Type="http://schemas.openxmlformats.org/officeDocument/2006/relationships/tags" Target="../tags/tag2.xml"/><Relationship Id="rId6" Type="http://schemas.openxmlformats.org/officeDocument/2006/relationships/image" Target="../media/image24.emf"/><Relationship Id="rId11" Type="http://schemas.openxmlformats.org/officeDocument/2006/relationships/image" Target="../media/image29.emf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emf"/><Relationship Id="rId4" Type="http://schemas.openxmlformats.org/officeDocument/2006/relationships/image" Target="../media/image3.emf"/><Relationship Id="rId9" Type="http://schemas.openxmlformats.org/officeDocument/2006/relationships/image" Target="../media/image27.emf"/><Relationship Id="rId14" Type="http://schemas.openxmlformats.org/officeDocument/2006/relationships/image" Target="../media/image32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2.emf"/><Relationship Id="rId5" Type="http://schemas.openxmlformats.org/officeDocument/2006/relationships/image" Target="../media/image3.emf"/><Relationship Id="rId4" Type="http://schemas.openxmlformats.org/officeDocument/2006/relationships/image" Target="../media/image37.tif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tmp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09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1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897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39872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277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317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932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47270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21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23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25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ED3D988A-38CF-4B35-BE79-653349F08EA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1E4874C8-049D-425A-B61A-352FEB3182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9AB1B653-4A88-4E8D-96A2-5C0EBB7FB4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9607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0523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5303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57016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C333F920-D1E5-4994-9EBD-9A89C42CBE3E}"/>
              </a:ext>
            </a:extLst>
          </p:cNvPr>
          <p:cNvGrpSpPr/>
          <p:nvPr userDrawn="1"/>
        </p:nvGrpSpPr>
        <p:grpSpPr>
          <a:xfrm>
            <a:off x="6279927" y="124978"/>
            <a:ext cx="5742276" cy="451023"/>
            <a:chOff x="6353729" y="329946"/>
            <a:chExt cx="5742276" cy="451023"/>
          </a:xfrm>
        </p:grpSpPr>
        <p:grpSp>
          <p:nvGrpSpPr>
            <p:cNvPr id="11" name="Skupina 10">
              <a:extLst>
                <a:ext uri="{FF2B5EF4-FFF2-40B4-BE49-F238E27FC236}">
                  <a16:creationId xmlns:a16="http://schemas.microsoft.com/office/drawing/2014/main" id="{7CF9DDBB-3FCE-4A6B-9324-5F5CE7374982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5822CFA-D4E2-4051-A738-DC3855AFF0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3386CBD1-D029-4EDD-804C-74BF73942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EBA595F3-4136-4431-A34D-3FE6EB8224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6220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96755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75594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EDDAB015-EBF0-4938-889E-56AD1CB499F3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0" name="Grafický objekt 9">
              <a:extLst>
                <a:ext uri="{FF2B5EF4-FFF2-40B4-BE49-F238E27FC236}">
                  <a16:creationId xmlns:a16="http://schemas.microsoft.com/office/drawing/2014/main" id="{5686FF4F-BD31-4284-A6F4-E2F29A74A3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1" name="Grafický objekt 10">
              <a:extLst>
                <a:ext uri="{FF2B5EF4-FFF2-40B4-BE49-F238E27FC236}">
                  <a16:creationId xmlns:a16="http://schemas.microsoft.com/office/drawing/2014/main" id="{402B9ECF-11DA-4FAD-9387-9E56728971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75374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70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38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169696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5526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448435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54566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9149848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EBD5D83B-FBC8-45BE-9EE7-668B3C420462}"/>
              </a:ext>
            </a:extLst>
          </p:cNvPr>
          <p:cNvGrpSpPr/>
          <p:nvPr userDrawn="1"/>
        </p:nvGrpSpPr>
        <p:grpSpPr>
          <a:xfrm>
            <a:off x="8139289" y="752121"/>
            <a:ext cx="1747911" cy="1747911"/>
            <a:chOff x="8128000" y="752121"/>
            <a:chExt cx="1747911" cy="1747911"/>
          </a:xfrm>
        </p:grpSpPr>
        <p:sp>
          <p:nvSpPr>
            <p:cNvPr id="27" name="Ovál 26">
              <a:extLst>
                <a:ext uri="{FF2B5EF4-FFF2-40B4-BE49-F238E27FC236}">
                  <a16:creationId xmlns:a16="http://schemas.microsoft.com/office/drawing/2014/main" id="{7B20D032-19A3-4C22-B3CB-696C6A96EEC9}"/>
                </a:ext>
              </a:extLst>
            </p:cNvPr>
            <p:cNvSpPr/>
            <p:nvPr userDrawn="1"/>
          </p:nvSpPr>
          <p:spPr>
            <a:xfrm>
              <a:off x="8128000" y="752121"/>
              <a:ext cx="1747911" cy="174791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D714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8" name="Ovál 27">
              <a:extLst>
                <a:ext uri="{FF2B5EF4-FFF2-40B4-BE49-F238E27FC236}">
                  <a16:creationId xmlns:a16="http://schemas.microsoft.com/office/drawing/2014/main" id="{A8B10EF5-6A05-459A-A97D-AEDF1B68D962}"/>
                </a:ext>
              </a:extLst>
            </p:cNvPr>
            <p:cNvSpPr/>
            <p:nvPr userDrawn="1"/>
          </p:nvSpPr>
          <p:spPr>
            <a:xfrm>
              <a:off x="8245370" y="869491"/>
              <a:ext cx="1513171" cy="1513171"/>
            </a:xfrm>
            <a:prstGeom prst="ellipse">
              <a:avLst/>
            </a:prstGeom>
            <a:solidFill>
              <a:srgbClr val="D71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29" name="Obrázek 28">
              <a:extLst>
                <a:ext uri="{FF2B5EF4-FFF2-40B4-BE49-F238E27FC236}">
                  <a16:creationId xmlns:a16="http://schemas.microsoft.com/office/drawing/2014/main" id="{0FBEFB98-5DAB-4B07-8F08-CB422EDF18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5370" y="1028001"/>
              <a:ext cx="1508136" cy="1091136"/>
            </a:xfrm>
            <a:prstGeom prst="rect">
              <a:avLst/>
            </a:prstGeom>
          </p:spPr>
        </p:pic>
      </p:grpSp>
      <p:pic>
        <p:nvPicPr>
          <p:cNvPr id="30" name="Obrázek 29">
            <a:extLst>
              <a:ext uri="{FF2B5EF4-FFF2-40B4-BE49-F238E27FC236}">
                <a16:creationId xmlns:a16="http://schemas.microsoft.com/office/drawing/2014/main" id="{FD1AACC9-F4FF-40BB-BF13-BC4389B94830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9810"/>
            <a:ext cx="3166110" cy="75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86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Obrázek 26">
            <a:extLst>
              <a:ext uri="{FF2B5EF4-FFF2-40B4-BE49-F238E27FC236}">
                <a16:creationId xmlns:a16="http://schemas.microsoft.com/office/drawing/2014/main" id="{A0830BFB-3F0B-458F-928F-6F4BED91D1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5"/>
          <a:stretch/>
        </p:blipFill>
        <p:spPr>
          <a:xfrm>
            <a:off x="8685624" y="0"/>
            <a:ext cx="3166110" cy="714254"/>
          </a:xfrm>
          <a:prstGeom prst="rect">
            <a:avLst/>
          </a:prstGeom>
        </p:spPr>
      </p:pic>
      <p:pic>
        <p:nvPicPr>
          <p:cNvPr id="65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69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9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10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11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8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sp>
        <p:nvSpPr>
          <p:cNvPr id="5" name="Rovnoramenný trojúhelník 4">
            <a:extLst>
              <a:ext uri="{FF2B5EF4-FFF2-40B4-BE49-F238E27FC236}">
                <a16:creationId xmlns:a16="http://schemas.microsoft.com/office/drawing/2014/main" id="{7CAA4C88-F276-4D85-BC5A-855142C9A879}"/>
              </a:ext>
            </a:extLst>
          </p:cNvPr>
          <p:cNvSpPr/>
          <p:nvPr userDrawn="1"/>
        </p:nvSpPr>
        <p:spPr>
          <a:xfrm rot="1106797">
            <a:off x="9886179" y="3906438"/>
            <a:ext cx="925689" cy="1307747"/>
          </a:xfrm>
          <a:prstGeom prst="triangle">
            <a:avLst>
              <a:gd name="adj" fmla="val 54766"/>
            </a:avLst>
          </a:prstGeom>
          <a:solidFill>
            <a:srgbClr val="FFC000">
              <a:alpha val="44000"/>
            </a:srgbClr>
          </a:solidFill>
          <a:ln w="15875">
            <a:solidFill>
              <a:srgbClr val="2E5980"/>
            </a:solidFill>
          </a:ln>
          <a:effectLst>
            <a:outerShdw blurRad="50800" dist="50800" dir="5400000" algn="ctr" rotWithShape="0">
              <a:srgbClr val="2E598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A7625E7-379D-485C-9F59-587E590B1360}"/>
              </a:ext>
            </a:extLst>
          </p:cNvPr>
          <p:cNvGrpSpPr/>
          <p:nvPr userDrawn="1"/>
        </p:nvGrpSpPr>
        <p:grpSpPr>
          <a:xfrm>
            <a:off x="9556683" y="4836400"/>
            <a:ext cx="1028535" cy="1028535"/>
            <a:chOff x="9594309" y="4436915"/>
            <a:chExt cx="1747911" cy="1747911"/>
          </a:xfrm>
        </p:grpSpPr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6E41CB97-71F2-478C-8219-0DEB89B91F0E}"/>
                </a:ext>
              </a:extLst>
            </p:cNvPr>
            <p:cNvSpPr/>
            <p:nvPr userDrawn="1"/>
          </p:nvSpPr>
          <p:spPr>
            <a:xfrm>
              <a:off x="9594309" y="4436915"/>
              <a:ext cx="1747911" cy="174791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D714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5" name="Ovál 24">
              <a:extLst>
                <a:ext uri="{FF2B5EF4-FFF2-40B4-BE49-F238E27FC236}">
                  <a16:creationId xmlns:a16="http://schemas.microsoft.com/office/drawing/2014/main" id="{C8DF8BD4-44B6-4D20-A03F-D96F1155DCF1}"/>
                </a:ext>
              </a:extLst>
            </p:cNvPr>
            <p:cNvSpPr/>
            <p:nvPr userDrawn="1"/>
          </p:nvSpPr>
          <p:spPr>
            <a:xfrm>
              <a:off x="9711679" y="4554285"/>
              <a:ext cx="1513171" cy="1513171"/>
            </a:xfrm>
            <a:prstGeom prst="ellipse">
              <a:avLst/>
            </a:prstGeom>
            <a:solidFill>
              <a:srgbClr val="D71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38C48EF5-601D-424A-A2CD-A16A22792F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11679" y="4712795"/>
              <a:ext cx="1508136" cy="1091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188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84474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A14C61-2793-4917-88DD-5CD5C82E5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19" y="136525"/>
            <a:ext cx="10515600" cy="1325563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>
              <a:defRPr sz="3200" b="1">
                <a:solidFill>
                  <a:srgbClr val="308297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977F3AE-8EFE-4486-A3CD-CCE34B32D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53B24-F7DF-4006-BC3B-7282789923AD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6347C51-18A4-4805-9CBF-C3B721C5A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352435F-934C-4AD5-89DD-70A45E7E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5C928-8E11-4BEA-8628-EA31CD02D37F}" type="slidenum">
              <a:rPr lang="cs-CZ" smtClean="0"/>
              <a:t>‹#›</a:t>
            </a:fld>
            <a:endParaRPr lang="cs-CZ"/>
          </a:p>
        </p:txBody>
      </p:sp>
      <p:sp>
        <p:nvSpPr>
          <p:cNvPr id="9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4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6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4"/>
          <p:cNvSpPr/>
          <p:nvPr userDrawn="1"/>
        </p:nvSpPr>
        <p:spPr>
          <a:xfrm>
            <a:off x="1261241" y="6549098"/>
            <a:ext cx="78868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</a:t>
            </a:r>
            <a:r>
              <a:rPr lang="cs-CZ" sz="1200" b="1" i="0" baseline="0" dirty="0">
                <a:solidFill>
                  <a:schemeClr val="accent5">
                    <a:lumMod val="50000"/>
                  </a:schemeClr>
                </a:solidFill>
              </a:rPr>
              <a:t> studie pro regiony ČR – září 2019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1379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0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1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2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délník 14"/>
          <p:cNvSpPr/>
          <p:nvPr userDrawn="1"/>
        </p:nvSpPr>
        <p:spPr>
          <a:xfrm>
            <a:off x="1261241" y="6549098"/>
            <a:ext cx="78868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</a:t>
            </a:r>
            <a:r>
              <a:rPr lang="cs-CZ" sz="1200" b="1" i="0" baseline="0" dirty="0">
                <a:solidFill>
                  <a:schemeClr val="accent5">
                    <a:lumMod val="50000"/>
                  </a:schemeClr>
                </a:solidFill>
              </a:rPr>
              <a:t> studie pro regiony ČR – září 2019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9303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683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Obrázek 22">
            <a:extLst>
              <a:ext uri="{FF2B5EF4-FFF2-40B4-BE49-F238E27FC236}">
                <a16:creationId xmlns:a16="http://schemas.microsoft.com/office/drawing/2014/main" id="{BF98E95A-825F-49DE-B35C-874CA66CDE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99687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34" name="TextovéPole 33"/>
          <p:cNvSpPr txBox="1"/>
          <p:nvPr userDrawn="1"/>
        </p:nvSpPr>
        <p:spPr>
          <a:xfrm>
            <a:off x="1658606" y="6269165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sp>
        <p:nvSpPr>
          <p:cNvPr id="26" name="TextovéPole 25"/>
          <p:cNvSpPr txBox="1"/>
          <p:nvPr userDrawn="1"/>
        </p:nvSpPr>
        <p:spPr>
          <a:xfrm>
            <a:off x="5781501" y="151329"/>
            <a:ext cx="563170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Datová základna realizace screeningových programů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CZ.03.2.63/0.0/0.0/15_039/0007216</a:t>
            </a:r>
            <a:endParaRPr lang="cs-CZ" sz="1050" b="1" dirty="0">
              <a:solidFill>
                <a:srgbClr val="274073"/>
              </a:solidFill>
              <a:effectLst/>
            </a:endParaRPr>
          </a:p>
        </p:txBody>
      </p:sp>
      <p:sp>
        <p:nvSpPr>
          <p:cNvPr id="4" name="Obdélník 3"/>
          <p:cNvSpPr/>
          <p:nvPr userDrawn="1"/>
        </p:nvSpPr>
        <p:spPr>
          <a:xfrm>
            <a:off x="10127275" y="6229898"/>
            <a:ext cx="12859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000" b="1" u="none" dirty="0">
                <a:solidFill>
                  <a:srgbClr val="DA2B4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c.uzis.cz</a:t>
            </a:r>
            <a:endParaRPr lang="cs-CZ" sz="2000" b="1" u="none" dirty="0">
              <a:solidFill>
                <a:srgbClr val="DA2B46"/>
              </a:solidFill>
            </a:endParaRPr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4A600299-36FF-4880-809A-3B53106E65E2}"/>
              </a:ext>
            </a:extLst>
          </p:cNvPr>
          <p:cNvGrpSpPr/>
          <p:nvPr userDrawn="1"/>
        </p:nvGrpSpPr>
        <p:grpSpPr>
          <a:xfrm>
            <a:off x="977527" y="99403"/>
            <a:ext cx="2394526" cy="521285"/>
            <a:chOff x="-3635511" y="3808741"/>
            <a:chExt cx="2394526" cy="521285"/>
          </a:xfrm>
        </p:grpSpPr>
        <p:pic>
          <p:nvPicPr>
            <p:cNvPr id="20" name="Obrázek 19">
              <a:extLst>
                <a:ext uri="{FF2B5EF4-FFF2-40B4-BE49-F238E27FC236}">
                  <a16:creationId xmlns:a16="http://schemas.microsoft.com/office/drawing/2014/main" id="{1EEB21A1-63BE-4C27-AC1C-7C0ED736F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5F85FAA7-4B5E-4124-8503-9019B35E4E98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Obrázek 21">
            <a:extLst>
              <a:ext uri="{FF2B5EF4-FFF2-40B4-BE49-F238E27FC236}">
                <a16:creationId xmlns:a16="http://schemas.microsoft.com/office/drawing/2014/main" id="{3AADB460-D02C-4410-A107-36A71631A2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080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29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397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4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67046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601301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584543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019792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10"/>
          </p:nvPr>
        </p:nvSpPr>
        <p:spPr>
          <a:xfrm>
            <a:off x="623393" y="5467351"/>
            <a:ext cx="10768508" cy="809624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graf 6"/>
          <p:cNvSpPr>
            <a:spLocks noGrp="1"/>
          </p:cNvSpPr>
          <p:nvPr>
            <p:ph type="chart" sz="quarter" idx="11"/>
          </p:nvPr>
        </p:nvSpPr>
        <p:spPr>
          <a:xfrm>
            <a:off x="800101" y="1971674"/>
            <a:ext cx="10452099" cy="321569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8" name="Zástupný symbol pro text 4"/>
          <p:cNvSpPr>
            <a:spLocks noGrp="1"/>
          </p:cNvSpPr>
          <p:nvPr>
            <p:ph type="body" sz="quarter" idx="12"/>
          </p:nvPr>
        </p:nvSpPr>
        <p:spPr>
          <a:xfrm>
            <a:off x="9475293" y="4699675"/>
            <a:ext cx="2310308" cy="320005"/>
          </a:xfrm>
        </p:spPr>
        <p:txBody>
          <a:bodyPr>
            <a:normAutofit/>
          </a:bodyPr>
          <a:lstStyle>
            <a:lvl1pPr marL="0" indent="0" algn="r">
              <a:buNone/>
              <a:defRPr sz="1400" b="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9" name="Zástupný symbol pro text 4"/>
          <p:cNvSpPr>
            <a:spLocks noGrp="1"/>
          </p:cNvSpPr>
          <p:nvPr>
            <p:ph type="body" sz="quarter" idx="13"/>
          </p:nvPr>
        </p:nvSpPr>
        <p:spPr>
          <a:xfrm>
            <a:off x="800101" y="914399"/>
            <a:ext cx="10768508" cy="889588"/>
          </a:xfrm>
        </p:spPr>
        <p:txBody>
          <a:bodyPr>
            <a:normAutofit/>
          </a:bodyPr>
          <a:lstStyle>
            <a:lvl1pPr marL="0" indent="0" algn="r">
              <a:buNone/>
              <a:defRPr sz="1400" b="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12" name="Zástupný symbol pro text 4"/>
          <p:cNvSpPr>
            <a:spLocks noGrp="1"/>
          </p:cNvSpPr>
          <p:nvPr>
            <p:ph type="body" sz="quarter" idx="14"/>
          </p:nvPr>
        </p:nvSpPr>
        <p:spPr>
          <a:xfrm>
            <a:off x="623393" y="1560180"/>
            <a:ext cx="3923209" cy="405814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accent6">
                    <a:lumMod val="25000"/>
                  </a:schemeClr>
                </a:solidFill>
              </a:defRPr>
            </a:lvl1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537854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429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591" y="6294926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0665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jpeg"/><Relationship Id="rId5" Type="http://schemas.openxmlformats.org/officeDocument/2006/relationships/theme" Target="../theme/theme2.xml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18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15.sv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80" r:id="rId5"/>
    <p:sldLayoutId id="214748457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1655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4105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1446B490-50F8-4EEA-84BF-ED4B3F9022BD}"/>
              </a:ext>
            </a:extLst>
          </p:cNvPr>
          <p:cNvGrpSpPr/>
          <p:nvPr userDrawn="1"/>
        </p:nvGrpSpPr>
        <p:grpSpPr>
          <a:xfrm>
            <a:off x="6287878" y="115007"/>
            <a:ext cx="5742276" cy="451023"/>
            <a:chOff x="6353729" y="329946"/>
            <a:chExt cx="5742276" cy="451023"/>
          </a:xfrm>
        </p:grpSpPr>
        <p:grpSp>
          <p:nvGrpSpPr>
            <p:cNvPr id="15" name="Skupina 14">
              <a:extLst>
                <a:ext uri="{FF2B5EF4-FFF2-40B4-BE49-F238E27FC236}">
                  <a16:creationId xmlns:a16="http://schemas.microsoft.com/office/drawing/2014/main" id="{DD56039D-6C4E-4F36-A9AD-1A5DE065253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7" name="Grafický objekt 16">
                <a:extLst>
                  <a:ext uri="{FF2B5EF4-FFF2-40B4-BE49-F238E27FC236}">
                    <a16:creationId xmlns:a16="http://schemas.microsoft.com/office/drawing/2014/main" id="{2D076463-9103-4D9E-86F8-FD67243D0B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15975688-7C12-499C-A870-E04744A86CD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6" name="Obrázek 15" descr="Obsah obrázku kreslení&#10;&#10;Popis byl vytvořen automaticky">
              <a:extLst>
                <a:ext uri="{FF2B5EF4-FFF2-40B4-BE49-F238E27FC236}">
                  <a16:creationId xmlns:a16="http://schemas.microsoft.com/office/drawing/2014/main" id="{70D84849-79F4-4C81-AEB0-8C902D8C7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093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3538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0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531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78" r:id="rId3"/>
    <p:sldLayoutId id="2147484579" r:id="rId4"/>
    <p:sldLayoutId id="2147484580" r:id="rId5"/>
    <p:sldLayoutId id="214748458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5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0.10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4" name="Obdélník 13"/>
          <p:cNvSpPr/>
          <p:nvPr userDrawn="1"/>
        </p:nvSpPr>
        <p:spPr>
          <a:xfrm>
            <a:off x="0" y="6272893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D44E156D-D337-4245-B243-3C1D4981B8C3}"/>
              </a:ext>
            </a:extLst>
          </p:cNvPr>
          <p:cNvGrpSpPr/>
          <p:nvPr userDrawn="1"/>
        </p:nvGrpSpPr>
        <p:grpSpPr>
          <a:xfrm>
            <a:off x="439357" y="6370574"/>
            <a:ext cx="2266057" cy="421394"/>
            <a:chOff x="-1238301" y="3808742"/>
            <a:chExt cx="2266057" cy="421394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62C97807-1BF3-4D2E-9D97-375DEC0954A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866F32A5-5F70-445D-88FE-D234BBECFEB1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Obrázek 21">
            <a:extLst>
              <a:ext uri="{FF2B5EF4-FFF2-40B4-BE49-F238E27FC236}">
                <a16:creationId xmlns:a16="http://schemas.microsoft.com/office/drawing/2014/main" id="{04EF2215-60A8-4EC9-89A9-8760DC5D15B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244" y="6398523"/>
            <a:ext cx="1563511" cy="360000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84EC350C-8336-412E-A529-0E00A45344A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0033" y="6397200"/>
            <a:ext cx="545828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58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3" r:id="rId1"/>
    <p:sldLayoutId id="2147484584" r:id="rId2"/>
    <p:sldLayoutId id="2147484585" r:id="rId3"/>
    <p:sldLayoutId id="2147484586" r:id="rId4"/>
    <p:sldLayoutId id="2147484587" r:id="rId5"/>
    <p:sldLayoutId id="2147484588" r:id="rId6"/>
    <p:sldLayoutId id="2147484589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3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chart" Target="../charts/chart9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36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chart" Target="../charts/chart10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slideLayout" Target="../slideLayouts/slideLayout3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chart" Target="../charts/chart1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chart" Target="../charts/chart1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7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75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4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33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3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chart" Target="../charts/chart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chart" Target="../charts/chart6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chart" Target="../charts/char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1.xml"/><Relationship Id="rId10" Type="http://schemas.openxmlformats.org/officeDocument/2006/relationships/slideLayout" Target="../slideLayouts/slideLayout24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1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3864990"/>
            <a:ext cx="11905307" cy="2111604"/>
          </a:xfrm>
        </p:spPr>
        <p:txBody>
          <a:bodyPr>
            <a:noAutofit/>
          </a:bodyPr>
          <a:lstStyle/>
          <a:p>
            <a:r>
              <a:rPr lang="cs-CZ" sz="6200" b="1" dirty="0"/>
              <a:t>Epidemie COVID-19 v datech:</a:t>
            </a:r>
          </a:p>
          <a:p>
            <a:r>
              <a:rPr lang="cs-CZ" sz="6200" b="1" dirty="0"/>
              <a:t>dopad na zdravotní péči a prevenci</a:t>
            </a:r>
            <a:endParaRPr lang="cs-CZ" sz="6200" i="1" dirty="0"/>
          </a:p>
        </p:txBody>
      </p:sp>
    </p:spTree>
    <p:extLst>
      <p:ext uri="{BB962C8B-B14F-4D97-AF65-F5344CB8AC3E}">
        <p14:creationId xmlns:p14="http://schemas.microsoft.com/office/powerpoint/2010/main" val="459386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4327597"/>
            <a:ext cx="11905307" cy="1278941"/>
          </a:xfrm>
        </p:spPr>
        <p:txBody>
          <a:bodyPr>
            <a:noAutofit/>
          </a:bodyPr>
          <a:lstStyle/>
          <a:p>
            <a:r>
              <a:rPr lang="cs-CZ" sz="6000" b="1" dirty="0"/>
              <a:t>Výběr z dat </a:t>
            </a:r>
          </a:p>
          <a:p>
            <a:r>
              <a:rPr lang="cs-CZ" sz="6000" b="1" dirty="0"/>
              <a:t>Kardiovaskulární onemocnění</a:t>
            </a:r>
          </a:p>
        </p:txBody>
      </p:sp>
    </p:spTree>
    <p:extLst>
      <p:ext uri="{BB962C8B-B14F-4D97-AF65-F5344CB8AC3E}">
        <p14:creationId xmlns:p14="http://schemas.microsoft.com/office/powerpoint/2010/main" val="2996743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dirty="0">
                <a:solidFill>
                  <a:srgbClr val="DA2128"/>
                </a:solidFill>
              </a:rPr>
              <a:t>Hospitalizace pro akutní infarkt myokardu, vývoj 01/2018–05/2021</a:t>
            </a:r>
            <a:endParaRPr lang="en-US" dirty="0">
              <a:solidFill>
                <a:srgbClr val="DA2128"/>
              </a:solidFill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53621"/>
            <a:ext cx="119684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01/2018–05/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 shrnuje počty akutních hospitalizačních pobytů v jednotlivých měsících let 2018–5/2021 pro diagnóz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21 Akutní infarkt myokardu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22 Pokračující infarkt myokard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7761913-4DBB-4D5D-87F9-52AEEFAF3D3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115975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A3B405D1-4605-4749-B098-EA996E57CBB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14912" y="1515542"/>
          <a:ext cx="10083800" cy="1514475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28756417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3135571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47390276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61820704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57449796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35810323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74979686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75616371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9066703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88381019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227525790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3962522919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14303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4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9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5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6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4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5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84422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6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4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3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8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0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7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7405904"/>
                  </a:ext>
                </a:extLst>
              </a:tr>
              <a:tr h="179705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68708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5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6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81596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3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6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3537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882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462781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D4B878B6-3074-4C89-ABBF-2372D03F6EA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92769725"/>
              </p:ext>
            </p:extLst>
          </p:nvPr>
        </p:nvGraphicFramePr>
        <p:xfrm>
          <a:off x="7866967" y="2444713"/>
          <a:ext cx="4052442" cy="3143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50718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1801724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Relativní rozdíl</a:t>
                      </a:r>
                      <a:endParaRPr lang="cs-CZ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% až – 2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6373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>
                <a:solidFill>
                  <a:srgbClr val="DA2128"/>
                </a:solidFill>
              </a:rPr>
              <a:t>Hospitalizace pro srdeční selhání, vývoj 01/2018–05/2021</a:t>
            </a:r>
            <a:endParaRPr lang="en-US" dirty="0">
              <a:solidFill>
                <a:srgbClr val="DA2128"/>
              </a:solidFill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53621"/>
            <a:ext cx="118625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01/2018–05/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 shrnuje počty hospitalizačních pobytů v jednotlivých měsících let 2018–2020 pro diagnózu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50 Selhání srdc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7761913-4DBB-4D5D-87F9-52AEEFAF3D3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115975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1BC56647-9463-4862-B772-8E3A2D30E52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233210" y="1358737"/>
          <a:ext cx="10083800" cy="1514475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249872477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15312679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02751609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67710114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4711232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172895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42931523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5217986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67070231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74301356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017971575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292722653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8301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4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9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3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4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8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2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14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567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7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6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1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6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7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3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3628408"/>
                  </a:ext>
                </a:extLst>
              </a:tr>
              <a:tr h="179705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45023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1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5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8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9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41108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1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4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0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354509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583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7277466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A12CCA8-4389-4590-B03F-F1BD4AE0D2B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18254501"/>
              </p:ext>
            </p:extLst>
          </p:nvPr>
        </p:nvGraphicFramePr>
        <p:xfrm>
          <a:off x="7580234" y="2316569"/>
          <a:ext cx="4052442" cy="3143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50718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1801724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Relativní rozdíl</a:t>
                      </a:r>
                      <a:endParaRPr lang="cs-CZ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0% až – 28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18896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dirty="0">
                <a:solidFill>
                  <a:srgbClr val="DA2128"/>
                </a:solidFill>
              </a:rPr>
              <a:t>Počet ambulantních vyšetření u kardiologa, vývoj 01/2018–05/2021</a:t>
            </a:r>
            <a:endParaRPr lang="en-US" dirty="0">
              <a:solidFill>
                <a:srgbClr val="DA2128"/>
              </a:solidFill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536255"/>
            <a:ext cx="118625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01/2018–05/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 shrnuje počty vykázaných výkonů v jednotlivých měsících let 2018–2021,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znam kódů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7761913-4DBB-4D5D-87F9-52AEEFAF3D3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361509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A769E5EB-2E6D-4434-98C3-83C98342502E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457324" y="1027056"/>
          <a:ext cx="4010025" cy="6686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0025">
                  <a:extLst>
                    <a:ext uri="{9D8B030D-6E8A-4147-A177-3AD203B41FA5}">
                      <a16:colId xmlns:a16="http://schemas.microsoft.com/office/drawing/2014/main" val="132368694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17021 KOMPLEXNÍ VYŠETŘENÍ KARDIOLOGEM 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933745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17022 CÍLENÉ VYŠETŘENÍ KARDIOLOGEM 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33985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17023 KONTROLNÍ VYŠETŘENÍ KARDIOLOGEM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80576065"/>
                  </a:ext>
                </a:extLst>
              </a:tr>
            </a:tbl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1DE00B2B-5A67-42E9-8A1E-0C5C4DD9608C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457324" y="1758279"/>
          <a:ext cx="10083800" cy="1514475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241538946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9267799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03355801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59601303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36662913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75199364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7835268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95656457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5890875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24287919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32886459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461038899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3092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 55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 49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 2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5 90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8 1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3 77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 3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 98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 07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6 3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7 8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99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5550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4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6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6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5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8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603845"/>
                  </a:ext>
                </a:extLst>
              </a:tr>
              <a:tr h="179705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1363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1 92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 65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3 9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8 9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3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2484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5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7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1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8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4979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46983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7676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467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45724" y="174484"/>
            <a:ext cx="10515600" cy="631595"/>
          </a:xfrm>
        </p:spPr>
        <p:txBody>
          <a:bodyPr>
            <a:normAutofit/>
          </a:bodyPr>
          <a:lstStyle/>
          <a:p>
            <a:r>
              <a:rPr lang="cs-CZ" sz="3600" dirty="0">
                <a:solidFill>
                  <a:srgbClr val="C00000"/>
                </a:solidFill>
              </a:rPr>
              <a:t>Výběr z dat: kardiovaskulární onemocnění</a:t>
            </a:r>
            <a:endParaRPr lang="en-US" sz="3600" dirty="0">
              <a:solidFill>
                <a:srgbClr val="C00000"/>
              </a:solidFill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745724" y="806079"/>
            <a:ext cx="11008311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se závažnými kardiovaskulárnímu problémy se v roce 2020 nezměnil, nebo narostl (srdeční selhání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znamně poklesl objem hospitalizační péče, jak v počtu hospitalizací, tak v objemu ošetřovacích dn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výkonu ambulantních kardiologů byl méně výrazný, významněji nastal v dubnu, říjnu a listopadu 202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ze důvodně očekávat, že tyto trendy se promítnou do celkové mortality a také do objemu potřebné péče po zvládnutí epidemie. </a:t>
            </a:r>
          </a:p>
        </p:txBody>
      </p:sp>
    </p:spTree>
    <p:extLst>
      <p:ext uri="{BB962C8B-B14F-4D97-AF65-F5344CB8AC3E}">
        <p14:creationId xmlns:p14="http://schemas.microsoft.com/office/powerpoint/2010/main" val="39856045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4327597"/>
            <a:ext cx="11905307" cy="1278941"/>
          </a:xfrm>
        </p:spPr>
        <p:txBody>
          <a:bodyPr>
            <a:noAutofit/>
          </a:bodyPr>
          <a:lstStyle/>
          <a:p>
            <a:r>
              <a:rPr lang="cs-CZ" sz="6000" b="1" dirty="0"/>
              <a:t>Výběr z dat </a:t>
            </a:r>
          </a:p>
          <a:p>
            <a:r>
              <a:rPr lang="cs-CZ" sz="6000" b="1" dirty="0"/>
              <a:t>Preventivní prohlídky: praktičtí lékaři</a:t>
            </a:r>
          </a:p>
        </p:txBody>
      </p:sp>
    </p:spTree>
    <p:extLst>
      <p:ext uri="{BB962C8B-B14F-4D97-AF65-F5344CB8AC3E}">
        <p14:creationId xmlns:p14="http://schemas.microsoft.com/office/powerpoint/2010/main" val="42103870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72591" y="615521"/>
            <a:ext cx="118625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květen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odnocené výkony: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021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VYŠETŘENÍ PRAKTICKÝM LÉKAŘEM</a:t>
            </a:r>
          </a:p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022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AKOVANÉ KOMPLEXNÍ VYŠETŘENÍ PRAKTICKÝM LÉKAŘEM</a:t>
            </a:r>
          </a:p>
        </p:txBody>
      </p:sp>
      <p:sp>
        <p:nvSpPr>
          <p:cNvPr id="200" name="Nadpis 1">
            <a:extLst>
              <a:ext uri="{FF2B5EF4-FFF2-40B4-BE49-F238E27FC236}">
                <a16:creationId xmlns:a16="http://schemas.microsoft.com/office/drawing/2014/main" id="{BA125FB5-B1C8-4D72-91FB-5EE90346252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2591" y="160257"/>
            <a:ext cx="10515600" cy="6315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ivní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hlídky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dospělí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29253633-B51D-470E-BAFE-D31F7BB84E4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356701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4E0395EB-995B-4624-85BA-0B97908E640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156855" y="641308"/>
          <a:ext cx="3304814" cy="107886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4814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Počet preventivních prohlídek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1576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1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222 14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82764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2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896 641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63065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Absolut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25 50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22203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Relativ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4,6 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F3ADA990-6FD4-4F43-AF4F-4E380ED986E5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429250" y="1595415"/>
          <a:ext cx="10083800" cy="1524000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46798514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34683811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83530054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75501092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87303507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95267956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28631486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07687165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968176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6015805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176864647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127920283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45291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95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 9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5 32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37 35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5 77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2 44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8 2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 1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 60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6 88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3 30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5 19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5828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6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8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2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2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2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1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0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357683"/>
                  </a:ext>
                </a:extLst>
              </a:tr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9079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9 86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3 64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68 4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1 73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6 8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02256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5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2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61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89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5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32172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42098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4277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36287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7"/>
            <a:ext cx="11535096" cy="63159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ivní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hlídky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dospělí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53621"/>
            <a:ext cx="119684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únor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rnutí počtu preventivních prohlídek u dospělých v jednotlivých obdobích let 01/2016–02/2021 </a:t>
            </a:r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67CF5AEB-0628-44CE-9A69-D6911BFDC2C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63755762"/>
              </p:ext>
            </p:extLst>
          </p:nvPr>
        </p:nvGraphicFramePr>
        <p:xfrm>
          <a:off x="312383" y="1947964"/>
          <a:ext cx="5142174" cy="286512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714058">
                  <a:extLst>
                    <a:ext uri="{9D8B030D-6E8A-4147-A177-3AD203B41FA5}">
                      <a16:colId xmlns:a16="http://schemas.microsoft.com/office/drawing/2014/main" val="2775961891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20903774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507257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Období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Počet </a:t>
                      </a:r>
                      <a:endParaRPr lang="cs-CZ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>
                          <a:solidFill>
                            <a:schemeClr val="tx1"/>
                          </a:solidFill>
                        </a:rPr>
                        <a:t>Meziroční změna</a:t>
                      </a:r>
                      <a:endParaRPr lang="cs-CZ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4669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6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5 70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52029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7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6 02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,6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5864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8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3 50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4,9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02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9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7 646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1,1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6570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20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2 59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1,3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0754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21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9 08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9,2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19051643"/>
                  </a:ext>
                </a:extLst>
              </a:tr>
            </a:tbl>
          </a:graphicData>
        </a:graphic>
      </p:graphicFrame>
      <p:graphicFrame>
        <p:nvGraphicFramePr>
          <p:cNvPr id="9" name="Tabulka 7">
            <a:extLst>
              <a:ext uri="{FF2B5EF4-FFF2-40B4-BE49-F238E27FC236}">
                <a16:creationId xmlns:a16="http://schemas.microsoft.com/office/drawing/2014/main" id="{41E5C053-E942-4590-8CB9-3C8D3C0D2E8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9888141"/>
              </p:ext>
            </p:extLst>
          </p:nvPr>
        </p:nvGraphicFramePr>
        <p:xfrm>
          <a:off x="6338009" y="1947964"/>
          <a:ext cx="5142174" cy="24942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714058">
                  <a:extLst>
                    <a:ext uri="{9D8B030D-6E8A-4147-A177-3AD203B41FA5}">
                      <a16:colId xmlns:a16="http://schemas.microsoft.com/office/drawing/2014/main" val="2775961891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20903774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507257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Období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Počet 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Meziroční změna</a:t>
                      </a:r>
                      <a:endParaRPr lang="cs-CZ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4669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6-02/20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052 04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5864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7-02/20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089 14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3,5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02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8-02/20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102 79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1,3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6570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9-02/20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128 6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2,3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0754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20-02/20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7 32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6,9 %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19051643"/>
                  </a:ext>
                </a:extLst>
              </a:tr>
            </a:tbl>
          </a:graphicData>
        </a:graphic>
      </p:graphicFrame>
      <p:sp>
        <p:nvSpPr>
          <p:cNvPr id="12" name="TextBox 6">
            <a:extLst>
              <a:ext uri="{FF2B5EF4-FFF2-40B4-BE49-F238E27FC236}">
                <a16:creationId xmlns:a16="http://schemas.microsoft.com/office/drawing/2014/main" id="{91B50F25-8C74-4C54-A8F2-271903BEC37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256812" y="1252989"/>
            <a:ext cx="4162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ovnání šestiměsíčních období září–únor v letech 2016–2021</a:t>
            </a: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E76F994C-9F63-41F1-B93F-B39D475A2C3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72591" y="1285216"/>
            <a:ext cx="31210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ovnání prvních dvou měsíců let 2016–2021</a:t>
            </a:r>
          </a:p>
        </p:txBody>
      </p:sp>
      <p:sp>
        <p:nvSpPr>
          <p:cNvPr id="15" name="Podnadpis 2">
            <a:extLst>
              <a:ext uri="{FF2B5EF4-FFF2-40B4-BE49-F238E27FC236}">
                <a16:creationId xmlns:a16="http://schemas.microsoft.com/office/drawing/2014/main" id="{41172B0A-C50E-4D22-837E-B589B836682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4885" y="5108118"/>
            <a:ext cx="11622229" cy="1215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kles realizovaných preventivních prohlídek dospělých byl zásadní, meziročně 17% – 20%. </a:t>
            </a:r>
          </a:p>
        </p:txBody>
      </p:sp>
    </p:spTree>
    <p:extLst>
      <p:ext uri="{BB962C8B-B14F-4D97-AF65-F5344CB8AC3E}">
        <p14:creationId xmlns:p14="http://schemas.microsoft.com/office/powerpoint/2010/main" val="37011476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72591" y="615521"/>
            <a:ext cx="118625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květen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odnocené výkon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2021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OMPLEXNÍ VYŠETŘENÍ PRAKTICKÝM LÉKAŘEM PRO DĚTI A DOROST - DÍTĚ DO 6 LET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2022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PAKOVANÉ KOMPLEXNÍ VYŠETŘENÍ PRAKTICKÝM LÉKAŘEM PRO DĚTI A DOROST - DÍTĚ DO 6 LET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0" name="Nadpis 1">
            <a:extLst>
              <a:ext uri="{FF2B5EF4-FFF2-40B4-BE49-F238E27FC236}">
                <a16:creationId xmlns:a16="http://schemas.microsoft.com/office/drawing/2014/main" id="{BA125FB5-B1C8-4D72-91FB-5EE90346252C}"/>
              </a:ext>
            </a:extLst>
          </p:cNvPr>
          <p:cNvSpPr txBox="1">
            <a:spLocks/>
          </p:cNvSpPr>
          <p:nvPr/>
        </p:nvSpPr>
        <p:spPr>
          <a:xfrm>
            <a:off x="272591" y="160257"/>
            <a:ext cx="10515600" cy="6315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ivní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hlídky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děti do 6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29253633-B51D-470E-BAFE-D31F7BB84E4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72591" y="2356701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E7B3CA1B-D42B-4EC0-98FF-C39CD860ACE7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8156855" y="660863"/>
          <a:ext cx="3304814" cy="107886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4814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Počet preventivních prohlídek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1576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1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303 23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82764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2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277 901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63065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Absolut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5 33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22203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Relativ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,9 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EEBBE512-BB7E-4929-9CD7-2F83C090D8D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389137" y="1614970"/>
          <a:ext cx="9977609" cy="1524000"/>
        </p:xfrm>
        <a:graphic>
          <a:graphicData uri="http://schemas.openxmlformats.org/drawingml/2006/table">
            <a:tbl>
              <a:tblPr/>
              <a:tblGrid>
                <a:gridCol w="829373">
                  <a:extLst>
                    <a:ext uri="{9D8B030D-6E8A-4147-A177-3AD203B41FA5}">
                      <a16:colId xmlns:a16="http://schemas.microsoft.com/office/drawing/2014/main" val="389725953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3022007324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940260467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1646746629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2338938783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2763694308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2640884643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2559845427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3880242753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3875064824"/>
                    </a:ext>
                  </a:extLst>
                </a:gridCol>
                <a:gridCol w="829373">
                  <a:extLst>
                    <a:ext uri="{9D8B030D-6E8A-4147-A177-3AD203B41FA5}">
                      <a16:colId xmlns:a16="http://schemas.microsoft.com/office/drawing/2014/main" val="1100206532"/>
                    </a:ext>
                  </a:extLst>
                </a:gridCol>
                <a:gridCol w="854506">
                  <a:extLst>
                    <a:ext uri="{9D8B030D-6E8A-4147-A177-3AD203B41FA5}">
                      <a16:colId xmlns:a16="http://schemas.microsoft.com/office/drawing/2014/main" val="3573138186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3523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 62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7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4 86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98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9 7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 53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 95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 34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1 48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 9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 87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7634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3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9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2482117"/>
                  </a:ext>
                </a:extLst>
              </a:tr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2207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 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8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4 03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 3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 3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22834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5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5478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10103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85483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71898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72591" y="615521"/>
            <a:ext cx="118625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květen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odnocené výkon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2031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OMPLEXNÍ VYŠETŘENÍ PRAKTICKÝM LÉKAŘEM PRO DĚTI A DOROST - DÍTĚ NAD 6 LET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2032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PAKOVANÉ KOMPLEXNÍ VYŠETŘENÍ PRAKTICKÝM LÉKAŘEM PRO DĚTI A DOROST - DÍTĚ NAD 6 LET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0" name="Nadpis 1">
            <a:extLst>
              <a:ext uri="{FF2B5EF4-FFF2-40B4-BE49-F238E27FC236}">
                <a16:creationId xmlns:a16="http://schemas.microsoft.com/office/drawing/2014/main" id="{BA125FB5-B1C8-4D72-91FB-5EE90346252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2591" y="160257"/>
            <a:ext cx="10515600" cy="6315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ivní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hlídky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děti nad 6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29253633-B51D-470E-BAFE-D31F7BB84E4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356701"/>
          <a:ext cx="11360085" cy="412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5B9B3331-424B-4167-B2EB-B2BC13B342C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156855" y="706207"/>
          <a:ext cx="3304814" cy="107886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44814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Počet preventivních prohlídek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1576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1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2 11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82764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2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7 008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63065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Absolut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 104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22203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Relativní rozdíl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0,8 %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B5641369-C4B7-4B5D-8D3D-408152C2177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273802" y="1742273"/>
          <a:ext cx="10083800" cy="1524000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139654123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9669774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2365560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78843113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92516377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96090883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20669938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5322001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20877406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1274684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81261857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916034717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18048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6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7 4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0 8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 43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6 5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 1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 5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 86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 28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 88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97020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3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0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8,4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2,1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6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5,2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7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9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4477230"/>
                  </a:ext>
                </a:extLst>
              </a:tr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8080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 26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 66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4 38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0 8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 2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07005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8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60,5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2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,0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15049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84180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34835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1804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4327597"/>
            <a:ext cx="11905307" cy="1278941"/>
          </a:xfrm>
        </p:spPr>
        <p:txBody>
          <a:bodyPr>
            <a:noAutofit/>
          </a:bodyPr>
          <a:lstStyle/>
          <a:p>
            <a:r>
              <a:rPr lang="cs-CZ" sz="6000" b="1" dirty="0"/>
              <a:t>Dopad epidemie na nemocnice</a:t>
            </a:r>
          </a:p>
          <a:p>
            <a:r>
              <a:rPr lang="cs-CZ" sz="6000" b="1" dirty="0"/>
              <a:t>v retrospektivním přehledu dat </a:t>
            </a:r>
          </a:p>
        </p:txBody>
      </p:sp>
    </p:spTree>
    <p:extLst>
      <p:ext uri="{BB962C8B-B14F-4D97-AF65-F5344CB8AC3E}">
        <p14:creationId xmlns:p14="http://schemas.microsoft.com/office/powerpoint/2010/main" val="2834812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346" y="4327597"/>
            <a:ext cx="11905307" cy="1278941"/>
          </a:xfrm>
        </p:spPr>
        <p:txBody>
          <a:bodyPr>
            <a:noAutofit/>
          </a:bodyPr>
          <a:lstStyle/>
          <a:p>
            <a:r>
              <a:rPr lang="cs-CZ" sz="6000" b="1" dirty="0"/>
              <a:t>Výběr z dat </a:t>
            </a:r>
          </a:p>
          <a:p>
            <a:r>
              <a:rPr lang="cs-CZ" sz="6000" b="1" dirty="0"/>
              <a:t>Screening zhoubných nádorů</a:t>
            </a:r>
          </a:p>
        </p:txBody>
      </p:sp>
    </p:spTree>
    <p:extLst>
      <p:ext uri="{BB962C8B-B14F-4D97-AF65-F5344CB8AC3E}">
        <p14:creationId xmlns:p14="http://schemas.microsoft.com/office/powerpoint/2010/main" val="504276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/>
          <p:cNvGraphicFramePr>
            <a:graphicFrameLocks noGrp="1"/>
          </p:cNvGraphicFramePr>
          <p:nvPr>
            <p:ph type="chart" sz="quarter" idx="11"/>
          </p:nvPr>
        </p:nvGraphicFramePr>
        <p:xfrm>
          <a:off x="1056000" y="1847851"/>
          <a:ext cx="10080000" cy="3553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Zaoblený obdélník 8"/>
          <p:cNvSpPr/>
          <p:nvPr/>
        </p:nvSpPr>
        <p:spPr>
          <a:xfrm>
            <a:off x="0" y="5520522"/>
            <a:ext cx="12192000" cy="75774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3B23C47-CCBB-4722-A74F-000A53FC8D71}"/>
              </a:ext>
            </a:extLst>
          </p:cNvPr>
          <p:cNvSpPr txBox="1"/>
          <p:nvPr/>
        </p:nvSpPr>
        <p:spPr>
          <a:xfrm>
            <a:off x="624000" y="5530546"/>
            <a:ext cx="109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 roce 2020 bylo v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České republic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,9 % méně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reeningových mamografií než v roce 2019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jvětší pokles byl zaznamenán v dubnu (-65,8 %). V 1. pololetí roku 2021 bylo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4E8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,5 % víc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reeningových mamografií než v 1. pololetí roku 2019. Největší pokles byl zaznamenán v lednu (-10,7 %).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4000" y="259200"/>
            <a:ext cx="10944000" cy="648072"/>
          </a:xfrm>
        </p:spPr>
        <p:txBody>
          <a:bodyPr/>
          <a:lstStyle/>
          <a:p>
            <a:r>
              <a:rPr lang="cs-CZ" sz="2800" dirty="0"/>
              <a:t>Počet provedených </a:t>
            </a:r>
            <a:r>
              <a:rPr lang="cs-CZ" sz="2800" u="sng" dirty="0"/>
              <a:t>screeningových mamografií</a:t>
            </a:r>
            <a:r>
              <a:rPr lang="cs-CZ" sz="2800" dirty="0"/>
              <a:t> v letech </a:t>
            </a:r>
            <a:br>
              <a:rPr lang="cs-CZ" sz="2800" dirty="0"/>
            </a:br>
            <a:r>
              <a:rPr lang="cs-CZ" sz="2800" dirty="0"/>
              <a:t>2020 vs. 2019 a 2021 vs. 2019</a:t>
            </a:r>
            <a:endParaRPr lang="cs-CZ" sz="2800" u="sng" dirty="0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12"/>
          </p:nvPr>
        </p:nvSpPr>
        <p:spPr>
          <a:xfrm>
            <a:off x="9552717" y="4965588"/>
            <a:ext cx="1732731" cy="320005"/>
          </a:xfrm>
        </p:spPr>
        <p:txBody>
          <a:bodyPr/>
          <a:lstStyle/>
          <a:p>
            <a:r>
              <a:rPr lang="cs-CZ" dirty="0"/>
              <a:t>Měsíce</a:t>
            </a:r>
          </a:p>
        </p:txBody>
      </p:sp>
      <p:sp>
        <p:nvSpPr>
          <p:cNvPr id="12" name="Zástupný symbol pro text 6"/>
          <p:cNvSpPr>
            <a:spLocks noGrp="1"/>
          </p:cNvSpPr>
          <p:nvPr>
            <p:ph type="body" sz="quarter" idx="14"/>
          </p:nvPr>
        </p:nvSpPr>
        <p:spPr>
          <a:xfrm rot="16200000">
            <a:off x="-316409" y="3419651"/>
            <a:ext cx="2380376" cy="290874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Počet provedených vyšetření</a:t>
            </a:r>
          </a:p>
        </p:txBody>
      </p:sp>
      <p:sp>
        <p:nvSpPr>
          <p:cNvPr id="13" name="Zástupný symbol pro text 6"/>
          <p:cNvSpPr>
            <a:spLocks noGrp="1"/>
          </p:cNvSpPr>
          <p:nvPr>
            <p:ph type="body" sz="quarter" idx="14"/>
          </p:nvPr>
        </p:nvSpPr>
        <p:spPr>
          <a:xfrm rot="5400000">
            <a:off x="10133461" y="3354180"/>
            <a:ext cx="2609852" cy="460796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% změna v počtu provedených vyšetření</a:t>
            </a:r>
          </a:p>
        </p:txBody>
      </p:sp>
      <p:sp>
        <p:nvSpPr>
          <p:cNvPr id="11" name="Zástupný symbol pro text 5">
            <a:extLst>
              <a:ext uri="{FF2B5EF4-FFF2-40B4-BE49-F238E27FC236}">
                <a16:creationId xmlns:a16="http://schemas.microsoft.com/office/drawing/2014/main" id="{E34F0EA3-FECC-456F-BA3C-3280EAD8E4C8}"/>
              </a:ext>
            </a:extLst>
          </p:cNvPr>
          <p:cNvSpPr txBox="1">
            <a:spLocks/>
          </p:cNvSpPr>
          <p:nvPr/>
        </p:nvSpPr>
        <p:spPr>
          <a:xfrm>
            <a:off x="624000" y="1066799"/>
            <a:ext cx="10944000" cy="88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reeningová mamografie (89178; 89223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(leden 2019—červen 2021,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ženy ve věku 45 a více let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Zdroj dat: NRHZS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837676" y="5238089"/>
            <a:ext cx="29610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zn.: Údaje za duben—červen 2021 jsou předběžné.</a:t>
            </a:r>
          </a:p>
        </p:txBody>
      </p:sp>
    </p:spTree>
    <p:extLst>
      <p:ext uri="{BB962C8B-B14F-4D97-AF65-F5344CB8AC3E}">
        <p14:creationId xmlns:p14="http://schemas.microsoft.com/office/powerpoint/2010/main" val="23100677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aoblený obdélník 8">
            <a:extLst>
              <a:ext uri="{FF2B5EF4-FFF2-40B4-BE49-F238E27FC236}">
                <a16:creationId xmlns:a16="http://schemas.microsoft.com/office/drawing/2014/main" id="{F397C572-4F39-430F-A4B6-52F446350624}"/>
              </a:ext>
            </a:extLst>
          </p:cNvPr>
          <p:cNvSpPr/>
          <p:nvPr/>
        </p:nvSpPr>
        <p:spPr>
          <a:xfrm>
            <a:off x="0" y="5520522"/>
            <a:ext cx="12192000" cy="75774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Object 4"/>
          <p:cNvGraphicFramePr>
            <a:graphicFrameLocks noGrp="1"/>
          </p:cNvGraphicFramePr>
          <p:nvPr>
            <p:ph type="chart" sz="quarter" idx="11"/>
          </p:nvPr>
        </p:nvGraphicFramePr>
        <p:xfrm>
          <a:off x="1056000" y="1846800"/>
          <a:ext cx="10080000" cy="355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4000" y="259200"/>
            <a:ext cx="10944000" cy="648072"/>
          </a:xfrm>
        </p:spPr>
        <p:txBody>
          <a:bodyPr/>
          <a:lstStyle/>
          <a:p>
            <a:r>
              <a:rPr lang="cs-CZ" sz="2800" dirty="0"/>
              <a:t>Počet provedených </a:t>
            </a:r>
            <a:r>
              <a:rPr lang="cs-CZ" sz="2800" u="sng" dirty="0" err="1"/>
              <a:t>cervikovaginálních</a:t>
            </a:r>
            <a:r>
              <a:rPr lang="cs-CZ" sz="2800" u="sng" dirty="0"/>
              <a:t> cytologií</a:t>
            </a:r>
            <a:r>
              <a:rPr lang="cs-CZ" sz="2800" dirty="0"/>
              <a:t> v letech </a:t>
            </a:r>
            <a:br>
              <a:rPr lang="cs-CZ" sz="2800" dirty="0"/>
            </a:br>
            <a:r>
              <a:rPr lang="cs-CZ" sz="2800" dirty="0"/>
              <a:t>2020 vs. 2019 a 2021 vs. 2019</a:t>
            </a:r>
            <a:endParaRPr lang="cs-CZ" sz="2800" u="sng" dirty="0"/>
          </a:p>
        </p:txBody>
      </p:sp>
      <p:sp>
        <p:nvSpPr>
          <p:cNvPr id="10" name="Zástupný symbol pro text 5">
            <a:extLst>
              <a:ext uri="{FF2B5EF4-FFF2-40B4-BE49-F238E27FC236}">
                <a16:creationId xmlns:a16="http://schemas.microsoft.com/office/drawing/2014/main" id="{E34F0EA3-FECC-456F-BA3C-3280EAD8E4C8}"/>
              </a:ext>
            </a:extLst>
          </p:cNvPr>
          <p:cNvSpPr txBox="1">
            <a:spLocks/>
          </p:cNvSpPr>
          <p:nvPr/>
        </p:nvSpPr>
        <p:spPr>
          <a:xfrm>
            <a:off x="624000" y="1066799"/>
            <a:ext cx="10944000" cy="88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rvikovagináln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reeningová cytologie (95198; 95199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(leden 2019—červen 2021,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ženy ve věku 15 a více let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Zdroj dat: NRHZS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Zástupný symbol pro text 6"/>
          <p:cNvSpPr>
            <a:spLocks noGrp="1"/>
          </p:cNvSpPr>
          <p:nvPr>
            <p:ph type="body" sz="quarter" idx="14"/>
          </p:nvPr>
        </p:nvSpPr>
        <p:spPr>
          <a:xfrm rot="16200000">
            <a:off x="-300066" y="3476801"/>
            <a:ext cx="2380376" cy="290874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Počet provedených vyšetření</a:t>
            </a:r>
          </a:p>
        </p:txBody>
      </p:sp>
      <p:sp>
        <p:nvSpPr>
          <p:cNvPr id="16" name="Zástupný symbol pro text 6"/>
          <p:cNvSpPr>
            <a:spLocks noGrp="1"/>
          </p:cNvSpPr>
          <p:nvPr>
            <p:ph type="body" sz="quarter" idx="14"/>
          </p:nvPr>
        </p:nvSpPr>
        <p:spPr>
          <a:xfrm rot="5400000">
            <a:off x="10078663" y="3331955"/>
            <a:ext cx="2628900" cy="460796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% změna v počtu provedených vyšetření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7483F56A-98D0-437B-B0A4-FAD8D7F2AD3A}"/>
              </a:ext>
            </a:extLst>
          </p:cNvPr>
          <p:cNvSpPr txBox="1"/>
          <p:nvPr/>
        </p:nvSpPr>
        <p:spPr>
          <a:xfrm>
            <a:off x="624000" y="5534565"/>
            <a:ext cx="109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 roce 2020 bylo v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České republic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,1 % méně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rvikovaginální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reeningových cytologií než v roce 2019. Největší pokles byl zaznamenán v dubnu (-63,9 %). V 1. pololetí roku 2021 bylo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,4 % méně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rvikovaginální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reeningových cytologií než v 1. pololetí roku 2019. Největší pokles byl zaznamenán v dubnu (-13,8 %)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D0AC2E7-E108-4439-9E25-D1A57DDA84D0}"/>
              </a:ext>
            </a:extLst>
          </p:cNvPr>
          <p:cNvSpPr txBox="1"/>
          <p:nvPr/>
        </p:nvSpPr>
        <p:spPr>
          <a:xfrm>
            <a:off x="837676" y="5238089"/>
            <a:ext cx="29610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zn.: Údaje za duben—červen 2021 jsou předběžné.</a:t>
            </a:r>
          </a:p>
        </p:txBody>
      </p:sp>
      <p:sp>
        <p:nvSpPr>
          <p:cNvPr id="15" name="Zástupný symbol pro text 4">
            <a:extLst>
              <a:ext uri="{FF2B5EF4-FFF2-40B4-BE49-F238E27FC236}">
                <a16:creationId xmlns:a16="http://schemas.microsoft.com/office/drawing/2014/main" id="{95B64B9E-1CC6-4DB3-A3E9-9438B98283A5}"/>
              </a:ext>
            </a:extLst>
          </p:cNvPr>
          <p:cNvSpPr txBox="1">
            <a:spLocks/>
          </p:cNvSpPr>
          <p:nvPr/>
        </p:nvSpPr>
        <p:spPr>
          <a:xfrm>
            <a:off x="9552717" y="4965588"/>
            <a:ext cx="1732731" cy="320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ěsíce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691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/>
          <p:cNvGraphicFramePr>
            <a:graphicFrameLocks noGrp="1"/>
          </p:cNvGraphicFramePr>
          <p:nvPr>
            <p:ph type="chart" sz="quarter" idx="11"/>
          </p:nvPr>
        </p:nvGraphicFramePr>
        <p:xfrm>
          <a:off x="1056000" y="1846800"/>
          <a:ext cx="10080000" cy="355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Zaoblený obdélník 8">
            <a:extLst>
              <a:ext uri="{FF2B5EF4-FFF2-40B4-BE49-F238E27FC236}">
                <a16:creationId xmlns:a16="http://schemas.microsoft.com/office/drawing/2014/main" id="{A815C669-EB61-48C9-85D0-64710A60A79D}"/>
              </a:ext>
            </a:extLst>
          </p:cNvPr>
          <p:cNvSpPr/>
          <p:nvPr/>
        </p:nvSpPr>
        <p:spPr>
          <a:xfrm>
            <a:off x="0" y="5520522"/>
            <a:ext cx="12192000" cy="75774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endParaRPr lang="pl-PL" sz="1600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4000" y="259200"/>
            <a:ext cx="10944000" cy="648072"/>
          </a:xfrm>
        </p:spPr>
        <p:txBody>
          <a:bodyPr/>
          <a:lstStyle/>
          <a:p>
            <a:r>
              <a:rPr lang="cs-CZ" sz="2800" dirty="0"/>
              <a:t>Počet provedených </a:t>
            </a:r>
            <a:r>
              <a:rPr lang="cs-CZ" sz="2800" u="sng" dirty="0"/>
              <a:t>screeningových TOKS </a:t>
            </a:r>
            <a:r>
              <a:rPr lang="cs-CZ" sz="2800" dirty="0"/>
              <a:t>v letech </a:t>
            </a:r>
            <a:br>
              <a:rPr lang="cs-CZ" sz="2800" dirty="0"/>
            </a:br>
            <a:r>
              <a:rPr lang="cs-CZ" sz="2800" dirty="0"/>
              <a:t>2020 vs. 2019 a 2021 vs. 2019</a:t>
            </a:r>
            <a:endParaRPr lang="cs-CZ" sz="2800" u="sng" dirty="0"/>
          </a:p>
        </p:txBody>
      </p:sp>
      <p:sp>
        <p:nvSpPr>
          <p:cNvPr id="10" name="Zástupný symbol pro text 5">
            <a:extLst>
              <a:ext uri="{FF2B5EF4-FFF2-40B4-BE49-F238E27FC236}">
                <a16:creationId xmlns:a16="http://schemas.microsoft.com/office/drawing/2014/main" id="{E34F0EA3-FECC-456F-BA3C-3280EAD8E4C8}"/>
              </a:ext>
            </a:extLst>
          </p:cNvPr>
          <p:cNvSpPr txBox="1">
            <a:spLocks/>
          </p:cNvSpPr>
          <p:nvPr/>
        </p:nvSpPr>
        <p:spPr>
          <a:xfrm>
            <a:off x="624000" y="1066799"/>
            <a:ext cx="10944000" cy="88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cs-CZ" dirty="0"/>
              <a:t>Screeningový TOKS (15118; 15120; 15121)</a:t>
            </a:r>
            <a:br>
              <a:rPr lang="cs-CZ" dirty="0">
                <a:cs typeface="Arial" charset="0"/>
              </a:rPr>
            </a:br>
            <a:r>
              <a:rPr lang="cs-CZ" dirty="0">
                <a:cs typeface="Arial" charset="0"/>
              </a:rPr>
              <a:t>(leden 2019—červen 2021, </a:t>
            </a:r>
            <a:r>
              <a:rPr lang="cs-CZ" dirty="0"/>
              <a:t>muži a ženy ve věku 50 a více let)</a:t>
            </a:r>
            <a:br>
              <a:rPr lang="cs-CZ" dirty="0"/>
            </a:br>
            <a:r>
              <a:rPr lang="cs-CZ" dirty="0">
                <a:cs typeface="Arial" charset="0"/>
              </a:rPr>
              <a:t>Zdroj dat: NRHZS</a:t>
            </a:r>
            <a:endParaRPr lang="cs-CZ" dirty="0"/>
          </a:p>
        </p:txBody>
      </p:sp>
      <p:sp>
        <p:nvSpPr>
          <p:cNvPr id="14" name="TextovéPole 13"/>
          <p:cNvSpPr txBox="1"/>
          <p:nvPr/>
        </p:nvSpPr>
        <p:spPr>
          <a:xfrm>
            <a:off x="624000" y="5636865"/>
            <a:ext cx="109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>
                <a:solidFill>
                  <a:schemeClr val="accent6">
                    <a:lumMod val="25000"/>
                  </a:schemeClr>
                </a:solidFill>
              </a:rPr>
              <a:t>V roce 2020 bylo v </a:t>
            </a:r>
            <a:r>
              <a:rPr lang="cs-CZ" sz="1400" b="1" dirty="0">
                <a:solidFill>
                  <a:schemeClr val="accent6">
                    <a:lumMod val="25000"/>
                  </a:schemeClr>
                </a:solidFill>
              </a:rPr>
              <a:t>České republice</a:t>
            </a:r>
            <a:r>
              <a:rPr lang="cs-CZ" sz="1400" dirty="0">
                <a:solidFill>
                  <a:schemeClr val="accent6">
                    <a:lumMod val="25000"/>
                  </a:schemeClr>
                </a:solidFill>
              </a:rPr>
              <a:t> provedeno o </a:t>
            </a:r>
            <a:r>
              <a:rPr lang="cs-CZ" sz="1400" b="1" dirty="0">
                <a:solidFill>
                  <a:srgbClr val="DA2B46"/>
                </a:solidFill>
              </a:rPr>
              <a:t>16,9 % méně </a:t>
            </a:r>
            <a:r>
              <a:rPr lang="cs-CZ" sz="1400" dirty="0">
                <a:solidFill>
                  <a:schemeClr val="accent6">
                    <a:lumMod val="25000"/>
                  </a:schemeClr>
                </a:solidFill>
              </a:rPr>
              <a:t>screeningových TOKS než v roce 2019.  Největší pokles byl zaznamenán v dubnu (-75,6 %). V 1. pololetí roku 2021 bylo provedeno o </a:t>
            </a:r>
            <a:r>
              <a:rPr lang="cs-CZ" sz="1400" b="1" dirty="0">
                <a:solidFill>
                  <a:srgbClr val="DA2B46"/>
                </a:solidFill>
              </a:rPr>
              <a:t>7,2 % méně </a:t>
            </a:r>
            <a:r>
              <a:rPr lang="cs-CZ" sz="1400" dirty="0">
                <a:solidFill>
                  <a:schemeClr val="accent6">
                    <a:lumMod val="25000"/>
                  </a:schemeClr>
                </a:solidFill>
              </a:rPr>
              <a:t>screeningových TOKS než v 1. pololetí roku 2019. Největší pokles nastal v lednu (-20,6 %).</a:t>
            </a:r>
          </a:p>
        </p:txBody>
      </p:sp>
      <p:sp>
        <p:nvSpPr>
          <p:cNvPr id="11" name="Zástupný symbol pro text 6"/>
          <p:cNvSpPr>
            <a:spLocks noGrp="1"/>
          </p:cNvSpPr>
          <p:nvPr>
            <p:ph type="body" sz="quarter" idx="14"/>
          </p:nvPr>
        </p:nvSpPr>
        <p:spPr>
          <a:xfrm rot="5400000">
            <a:off x="10005170" y="3363705"/>
            <a:ext cx="2628900" cy="460796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% změna v počtu provedených vyšetření</a:t>
            </a:r>
          </a:p>
        </p:txBody>
      </p:sp>
      <p:sp>
        <p:nvSpPr>
          <p:cNvPr id="15" name="Zástupný symbol pro text 6"/>
          <p:cNvSpPr>
            <a:spLocks noGrp="1"/>
          </p:cNvSpPr>
          <p:nvPr>
            <p:ph type="body" sz="quarter" idx="14"/>
          </p:nvPr>
        </p:nvSpPr>
        <p:spPr>
          <a:xfrm rot="16200000">
            <a:off x="-331252" y="3452054"/>
            <a:ext cx="2492566" cy="278995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Počet provedených vyšetření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4C0C55F-948A-4E34-A8B9-964B8B786A12}"/>
              </a:ext>
            </a:extLst>
          </p:cNvPr>
          <p:cNvSpPr txBox="1"/>
          <p:nvPr/>
        </p:nvSpPr>
        <p:spPr>
          <a:xfrm>
            <a:off x="837676" y="5238089"/>
            <a:ext cx="29610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00" dirty="0">
                <a:solidFill>
                  <a:schemeClr val="accent6">
                    <a:lumMod val="25000"/>
                  </a:schemeClr>
                </a:solidFill>
              </a:rPr>
              <a:t>Pozn.: Údaje za duben—červen 2021 jsou předběžné.</a:t>
            </a:r>
          </a:p>
        </p:txBody>
      </p:sp>
      <p:sp>
        <p:nvSpPr>
          <p:cNvPr id="17" name="Zástupný symbol pro text 4">
            <a:extLst>
              <a:ext uri="{FF2B5EF4-FFF2-40B4-BE49-F238E27FC236}">
                <a16:creationId xmlns:a16="http://schemas.microsoft.com/office/drawing/2014/main" id="{DF3566E2-E989-449B-A7C9-13502AE46AB1}"/>
              </a:ext>
            </a:extLst>
          </p:cNvPr>
          <p:cNvSpPr txBox="1">
            <a:spLocks/>
          </p:cNvSpPr>
          <p:nvPr/>
        </p:nvSpPr>
        <p:spPr>
          <a:xfrm>
            <a:off x="9552717" y="4965588"/>
            <a:ext cx="1732731" cy="320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/>
              <a:t>Měsí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442952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/>
          <p:cNvGraphicFramePr>
            <a:graphicFrameLocks noGrp="1"/>
          </p:cNvGraphicFramePr>
          <p:nvPr>
            <p:ph type="chart" sz="quarter" idx="11"/>
          </p:nvPr>
        </p:nvGraphicFramePr>
        <p:xfrm>
          <a:off x="1056000" y="1846800"/>
          <a:ext cx="10080000" cy="355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Zaoblený obdélník 8">
            <a:extLst>
              <a:ext uri="{FF2B5EF4-FFF2-40B4-BE49-F238E27FC236}">
                <a16:creationId xmlns:a16="http://schemas.microsoft.com/office/drawing/2014/main" id="{92C26C2F-AAE7-4877-85EE-6CCE771B9262}"/>
              </a:ext>
            </a:extLst>
          </p:cNvPr>
          <p:cNvSpPr/>
          <p:nvPr/>
        </p:nvSpPr>
        <p:spPr>
          <a:xfrm>
            <a:off x="0" y="5520522"/>
            <a:ext cx="12192000" cy="75774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ovéPole 13"/>
          <p:cNvSpPr txBox="1"/>
          <p:nvPr/>
        </p:nvSpPr>
        <p:spPr>
          <a:xfrm>
            <a:off x="624000" y="5520013"/>
            <a:ext cx="109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 roce 2020 bylo v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České republice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,0 % méně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creeningových kolonoskopií než v roce 2019. Největší pokles byl zaznamenán v dubnu (-58,1 %). V 1. pololetí roku 2021 bylo provedeno o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DA2B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,4 % méně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reeningových kolonoskopií než v 1. pololetí roku 2019. Největší pokles nastal v květnu (-7,0 %).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4000" y="259200"/>
            <a:ext cx="10944000" cy="648072"/>
          </a:xfrm>
        </p:spPr>
        <p:txBody>
          <a:bodyPr/>
          <a:lstStyle/>
          <a:p>
            <a:r>
              <a:rPr lang="cs-CZ" sz="2800" dirty="0"/>
              <a:t>Počet provedených </a:t>
            </a:r>
            <a:r>
              <a:rPr lang="cs-CZ" sz="2800" u="sng" dirty="0"/>
              <a:t>screeningových kolonoskopií </a:t>
            </a:r>
            <a:r>
              <a:rPr lang="cs-CZ" sz="2800" dirty="0"/>
              <a:t>v letech </a:t>
            </a:r>
            <a:br>
              <a:rPr lang="cs-CZ" sz="2800" dirty="0"/>
            </a:br>
            <a:r>
              <a:rPr lang="cs-CZ" sz="2800" dirty="0"/>
              <a:t>2020 vs. 2019 a 2021 vs. 2019</a:t>
            </a:r>
            <a:endParaRPr lang="cs-CZ" sz="2800" u="sng" dirty="0"/>
          </a:p>
        </p:txBody>
      </p:sp>
      <p:sp>
        <p:nvSpPr>
          <p:cNvPr id="7" name="Zástupný symbol pro text 6"/>
          <p:cNvSpPr>
            <a:spLocks noGrp="1"/>
          </p:cNvSpPr>
          <p:nvPr>
            <p:ph type="body" sz="quarter" idx="14"/>
          </p:nvPr>
        </p:nvSpPr>
        <p:spPr>
          <a:xfrm rot="16200000">
            <a:off x="-353637" y="3407414"/>
            <a:ext cx="2492566" cy="317475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Počet provedených vyšetření</a:t>
            </a:r>
          </a:p>
        </p:txBody>
      </p:sp>
      <p:sp>
        <p:nvSpPr>
          <p:cNvPr id="10" name="Zástupný symbol pro text 5">
            <a:extLst>
              <a:ext uri="{FF2B5EF4-FFF2-40B4-BE49-F238E27FC236}">
                <a16:creationId xmlns:a16="http://schemas.microsoft.com/office/drawing/2014/main" id="{E34F0EA3-FECC-456F-BA3C-3280EAD8E4C8}"/>
              </a:ext>
            </a:extLst>
          </p:cNvPr>
          <p:cNvSpPr txBox="1">
            <a:spLocks/>
          </p:cNvSpPr>
          <p:nvPr/>
        </p:nvSpPr>
        <p:spPr>
          <a:xfrm>
            <a:off x="624000" y="1066799"/>
            <a:ext cx="10944000" cy="88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reeningová kolonoskopie (15105; 15107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(leden 2019—červen 2021,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ži a ženy ve věku 50 a více let)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Zdroj dat: NRHZS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Zástupný symbol pro text 6"/>
          <p:cNvSpPr>
            <a:spLocks noGrp="1"/>
          </p:cNvSpPr>
          <p:nvPr>
            <p:ph type="body" sz="quarter" idx="14"/>
          </p:nvPr>
        </p:nvSpPr>
        <p:spPr>
          <a:xfrm rot="5400000">
            <a:off x="10126667" y="3364547"/>
            <a:ext cx="2552484" cy="476224"/>
          </a:xfrm>
        </p:spPr>
        <p:txBody>
          <a:bodyPr>
            <a:noAutofit/>
          </a:bodyPr>
          <a:lstStyle/>
          <a:p>
            <a:pPr algn="ctr"/>
            <a:r>
              <a:rPr lang="cs-CZ" dirty="0"/>
              <a:t>% změna v počtu provedených vyšetření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A1DD9A9-4478-4768-B3F0-0C1B4D8A3866}"/>
              </a:ext>
            </a:extLst>
          </p:cNvPr>
          <p:cNvSpPr txBox="1"/>
          <p:nvPr/>
        </p:nvSpPr>
        <p:spPr>
          <a:xfrm>
            <a:off x="837676" y="5238089"/>
            <a:ext cx="29610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zn.: Údaje za duben—červen 2021 jsou předběžné.</a:t>
            </a:r>
          </a:p>
        </p:txBody>
      </p:sp>
      <p:sp>
        <p:nvSpPr>
          <p:cNvPr id="16" name="Zástupný symbol pro text 4">
            <a:extLst>
              <a:ext uri="{FF2B5EF4-FFF2-40B4-BE49-F238E27FC236}">
                <a16:creationId xmlns:a16="http://schemas.microsoft.com/office/drawing/2014/main" id="{9C693010-B65C-438A-8D9C-4A40AB2B3BB3}"/>
              </a:ext>
            </a:extLst>
          </p:cNvPr>
          <p:cNvSpPr txBox="1">
            <a:spLocks/>
          </p:cNvSpPr>
          <p:nvPr/>
        </p:nvSpPr>
        <p:spPr>
          <a:xfrm>
            <a:off x="9552717" y="4965588"/>
            <a:ext cx="1732731" cy="3200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6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DDDCE0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ěsíce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DDCE0">
                  <a:lumMod val="2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6355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45724" y="174484"/>
            <a:ext cx="10515600" cy="631595"/>
          </a:xfrm>
        </p:spPr>
        <p:txBody>
          <a:bodyPr>
            <a:normAutofit/>
          </a:bodyPr>
          <a:lstStyle/>
          <a:p>
            <a:r>
              <a:rPr lang="cs-CZ" sz="3600" dirty="0">
                <a:solidFill>
                  <a:srgbClr val="C00000"/>
                </a:solidFill>
              </a:rPr>
              <a:t>Výběr z dat: onkologické screeningy</a:t>
            </a:r>
            <a:endParaRPr lang="en-US" sz="3600" dirty="0">
              <a:solidFill>
                <a:srgbClr val="C00000"/>
              </a:solidFill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745724" y="938054"/>
            <a:ext cx="1116975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sz="2800" b="1" dirty="0">
                <a:solidFill>
                  <a:schemeClr val="accent6">
                    <a:lumMod val="25000"/>
                  </a:schemeClr>
                </a:solidFill>
              </a:rPr>
              <a:t>Největší meziroční pokles počtu provedených vyšetření byl u všech screeningových programů zaznamenán v dubnu 2020. Naopak v prvním pololetí 2021 byl propad významně nižš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chemeClr val="accent6">
                    <a:lumMod val="25000"/>
                  </a:schemeClr>
                </a:solidFill>
              </a:rPr>
              <a:t>Ve srovnání s rokem 2019 poklesl v roce 2020 počet provedených vyšetření ve všech onkologických screeningových programech: screeningové mamografie o 6,9 %, </a:t>
            </a:r>
            <a:r>
              <a:rPr lang="cs-CZ" sz="2800" b="1" dirty="0" err="1">
                <a:solidFill>
                  <a:schemeClr val="accent6">
                    <a:lumMod val="25000"/>
                  </a:schemeClr>
                </a:solidFill>
              </a:rPr>
              <a:t>cervikovaginální</a:t>
            </a:r>
            <a:r>
              <a:rPr lang="cs-CZ" sz="2800" b="1" dirty="0">
                <a:solidFill>
                  <a:schemeClr val="accent6">
                    <a:lumMod val="25000"/>
                  </a:schemeClr>
                </a:solidFill>
              </a:rPr>
              <a:t> screeningové cytologie o 7,1 %, screeningové TOKS o 16,9 %, screeningové kolonoskopie o 12,0 %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2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de sice o významný o propad preventivní péče, který ale lze v následujících měsících „dohnat“, doplnit. 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1875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842" y="2467672"/>
            <a:ext cx="11537512" cy="765055"/>
          </a:xfrm>
        </p:spPr>
        <p:txBody>
          <a:bodyPr>
            <a:noAutofit/>
          </a:bodyPr>
          <a:lstStyle/>
          <a:p>
            <a:r>
              <a:rPr lang="cs-CZ" sz="6000" b="1" dirty="0"/>
              <a:t>DĚKUJI ZA POZORNOST </a:t>
            </a:r>
          </a:p>
        </p:txBody>
      </p:sp>
    </p:spTree>
    <p:extLst>
      <p:ext uri="{BB962C8B-B14F-4D97-AF65-F5344CB8AC3E}">
        <p14:creationId xmlns:p14="http://schemas.microsoft.com/office/powerpoint/2010/main" val="259980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Nadpis 1">
            <a:extLst>
              <a:ext uri="{FF2B5EF4-FFF2-40B4-BE49-F238E27FC236}">
                <a16:creationId xmlns:a16="http://schemas.microsoft.com/office/drawing/2014/main" id="{9D8ECCF7-4138-4016-BEA4-91EF908228F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9276" y="58602"/>
            <a:ext cx="6997959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7denn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í  průměrné počty aktuálně hospitalizovaných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BDADD5A-E9DA-43AC-B292-EACA6E6E31E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98612" y="1190721"/>
          <a:ext cx="11552373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9A90654-6A83-42C7-BFD9-A7B647A3C0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2779843" y="3555696"/>
            <a:ext cx="58982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  průměrné počty aktuálně hospitalizovaných</a:t>
            </a:r>
          </a:p>
        </p:txBody>
      </p:sp>
      <p:sp>
        <p:nvSpPr>
          <p:cNvPr id="6" name="TextovéPole 5"/>
          <p:cNvSpPr txBox="1"/>
          <p:nvPr>
            <p:custDataLst>
              <p:tags r:id="rId4"/>
            </p:custDataLst>
          </p:nvPr>
        </p:nvSpPr>
        <p:spPr>
          <a:xfrm>
            <a:off x="1007709" y="1746354"/>
            <a:ext cx="46751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140 000 hospitalizovaných celk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31 000 hospitalizovaných z těžkým průběhem </a:t>
            </a:r>
          </a:p>
        </p:txBody>
      </p:sp>
      <p:cxnSp>
        <p:nvCxnSpPr>
          <p:cNvPr id="3" name="Přímá spojnice 2"/>
          <p:cNvCxnSpPr/>
          <p:nvPr/>
        </p:nvCxnSpPr>
        <p:spPr>
          <a:xfrm flipH="1" flipV="1">
            <a:off x="1007709" y="1707501"/>
            <a:ext cx="9181322" cy="9331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13C74F08-CA6C-4535-993E-5440D00799D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528447" y="640656"/>
          <a:ext cx="5092701" cy="9120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79193">
                  <a:extLst>
                    <a:ext uri="{9D8B030D-6E8A-4147-A177-3AD203B41FA5}">
                      <a16:colId xmlns:a16="http://schemas.microsoft.com/office/drawing/2014/main" val="2601737472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2754702409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1328479680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3467732150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2280124670"/>
                    </a:ext>
                  </a:extLst>
                </a:gridCol>
              </a:tblGrid>
              <a:tr h="228021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1.pol 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.pol 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1.pol 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pol 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522376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průměr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64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663417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buClr>
                          <a:srgbClr val="000000"/>
                        </a:buClr>
                        <a:buSzPts val="1100"/>
                        <a:buFont typeface="Calibri" panose="020F0502020204030204" pitchFamily="34" charset="0"/>
                        <a:buNone/>
                      </a:pP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minimum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6553233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maximum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22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234810"/>
                  </a:ext>
                </a:extLst>
              </a:tr>
            </a:tbl>
          </a:graphicData>
        </a:graphic>
      </p:graphicFrame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255833BD-9772-44A3-B2D7-8D971F9885D4}"/>
              </a:ext>
            </a:extLst>
          </p:cNvPr>
          <p:cNvCxnSpPr>
            <a:cxnSpLocks/>
          </p:cNvCxnSpPr>
          <p:nvPr/>
        </p:nvCxnSpPr>
        <p:spPr>
          <a:xfrm flipV="1">
            <a:off x="7405735" y="2480650"/>
            <a:ext cx="316871" cy="57036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4317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Nadpis 1">
            <a:extLst>
              <a:ext uri="{FF2B5EF4-FFF2-40B4-BE49-F238E27FC236}">
                <a16:creationId xmlns:a16="http://schemas.microsoft.com/office/drawing/2014/main" id="{9D8ECCF7-4138-4016-BEA4-91EF908228F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9276" y="-443"/>
            <a:ext cx="7791061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7denn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í  průměrné počty aktuálně hospitalizovaných na JIP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BDADD5A-E9DA-43AC-B292-EACA6E6E31E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98612" y="1190721"/>
          <a:ext cx="11552373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9A90654-6A83-42C7-BFD9-A7B647A3C0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2779843" y="3555696"/>
            <a:ext cx="58982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í  průměrné počty aktuálně hospitalizovaných na JIP</a:t>
            </a:r>
          </a:p>
        </p:txBody>
      </p:sp>
      <p:sp>
        <p:nvSpPr>
          <p:cNvPr id="6" name="TextovéPole 5"/>
          <p:cNvSpPr txBox="1"/>
          <p:nvPr>
            <p:custDataLst>
              <p:tags r:id="rId4"/>
            </p:custDataLst>
          </p:nvPr>
        </p:nvSpPr>
        <p:spPr>
          <a:xfrm>
            <a:off x="970002" y="2871228"/>
            <a:ext cx="47399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140 000 hospitalizovaných celk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31 000 hospitalizovaných z těžkým průběhem </a:t>
            </a:r>
          </a:p>
        </p:txBody>
      </p:sp>
      <p:cxnSp>
        <p:nvCxnSpPr>
          <p:cNvPr id="7" name="Přímá spojnice 6"/>
          <p:cNvCxnSpPr>
            <a:cxnSpLocks/>
          </p:cNvCxnSpPr>
          <p:nvPr>
            <p:custDataLst>
              <p:tags r:id="rId5"/>
            </p:custDataLst>
          </p:nvPr>
        </p:nvCxnSpPr>
        <p:spPr>
          <a:xfrm flipH="1">
            <a:off x="1074656" y="1510815"/>
            <a:ext cx="10818732" cy="1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992350FE-AA79-4DB5-A56E-8853CDBD4425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074656" y="1669938"/>
          <a:ext cx="5092701" cy="9120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79193">
                  <a:extLst>
                    <a:ext uri="{9D8B030D-6E8A-4147-A177-3AD203B41FA5}">
                      <a16:colId xmlns:a16="http://schemas.microsoft.com/office/drawing/2014/main" val="2601737472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2754702409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1328479680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3467732150"/>
                    </a:ext>
                  </a:extLst>
                </a:gridCol>
                <a:gridCol w="953377">
                  <a:extLst>
                    <a:ext uri="{9D8B030D-6E8A-4147-A177-3AD203B41FA5}">
                      <a16:colId xmlns:a16="http://schemas.microsoft.com/office/drawing/2014/main" val="1569692140"/>
                    </a:ext>
                  </a:extLst>
                </a:gridCol>
              </a:tblGrid>
              <a:tr h="228021">
                <a:tc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1.pol 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.pol 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1.pol 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pol 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522376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průměr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4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07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663417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>
                        <a:buClr>
                          <a:srgbClr val="000000"/>
                        </a:buClr>
                        <a:buSzPts val="1100"/>
                        <a:buFont typeface="Calibri" panose="020F0502020204030204" pitchFamily="34" charset="0"/>
                        <a:buNone/>
                      </a:pPr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minimum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6553233"/>
                  </a:ext>
                </a:extLst>
              </a:tr>
              <a:tr h="22802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nní maximum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2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2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8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2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</a:t>
                      </a:r>
                      <a:endParaRPr lang="cs-CZ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234810"/>
                  </a:ext>
                </a:extLst>
              </a:tr>
            </a:tbl>
          </a:graphicData>
        </a:graphic>
      </p:graphicFrame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AEF36C6A-E288-41D4-867F-01C951769A9D}"/>
              </a:ext>
            </a:extLst>
          </p:cNvPr>
          <p:cNvCxnSpPr>
            <a:cxnSpLocks/>
          </p:cNvCxnSpPr>
          <p:nvPr/>
        </p:nvCxnSpPr>
        <p:spPr>
          <a:xfrm flipV="1">
            <a:off x="7245479" y="2697466"/>
            <a:ext cx="316871" cy="57036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5615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74" y="51411"/>
            <a:ext cx="6855968" cy="576000"/>
          </a:xfrm>
        </p:spPr>
        <p:txBody>
          <a:bodyPr/>
          <a:lstStyle/>
          <a:p>
            <a:r>
              <a:rPr lang="cs-CZ" dirty="0"/>
              <a:t>Dlouhodobé počty pacientů na JIP / ARO a UPV</a:t>
            </a:r>
          </a:p>
        </p:txBody>
      </p:sp>
      <p:graphicFrame>
        <p:nvGraphicFramePr>
          <p:cNvPr id="5" name="Chart 5">
            <a:extLst>
              <a:ext uri="{FF2B5EF4-FFF2-40B4-BE49-F238E27FC236}">
                <a16:creationId xmlns:a16="http://schemas.microsoft.com/office/drawing/2014/main" id="{51311C0E-AC01-476C-B54B-C33E60FD8A51}"/>
              </a:ext>
            </a:extLst>
          </p:cNvPr>
          <p:cNvGraphicFramePr/>
          <p:nvPr/>
        </p:nvGraphicFramePr>
        <p:xfrm>
          <a:off x="6397526" y="1894979"/>
          <a:ext cx="5601981" cy="449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Box 6">
            <a:extLst>
              <a:ext uri="{FF2B5EF4-FFF2-40B4-BE49-F238E27FC236}">
                <a16:creationId xmlns:a16="http://schemas.microsoft.com/office/drawing/2014/main" id="{76DDB2F3-C115-476D-A333-00195E117D30}"/>
              </a:ext>
            </a:extLst>
          </p:cNvPr>
          <p:cNvSpPr txBox="1"/>
          <p:nvPr/>
        </p:nvSpPr>
        <p:spPr>
          <a:xfrm>
            <a:off x="305096" y="776890"/>
            <a:ext cx="2876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NRHZS 201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373BA6D2-E0E9-4BBF-9B00-1A36F5C07BCA}"/>
              </a:ext>
            </a:extLst>
          </p:cNvPr>
          <p:cNvSpPr txBox="1"/>
          <p:nvPr/>
        </p:nvSpPr>
        <p:spPr>
          <a:xfrm rot="16200000">
            <a:off x="-824223" y="3955525"/>
            <a:ext cx="2194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čet pacientů</a:t>
            </a: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0E447063-0227-4834-B838-CFA45AEBF13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61348" y="1513191"/>
            <a:ext cx="36377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P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 ARO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emocnice v ČR)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7DA2EC0E-B481-4BFD-B35B-0E3F9904F256}"/>
              </a:ext>
            </a:extLst>
          </p:cNvPr>
          <p:cNvSpPr txBox="1"/>
          <p:nvPr/>
        </p:nvSpPr>
        <p:spPr>
          <a:xfrm rot="16200000">
            <a:off x="5147091" y="3787711"/>
            <a:ext cx="2194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pacientů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6F0AE2AA-3943-48AA-A46E-3CD5527E5D0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633045" y="1513191"/>
            <a:ext cx="29996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V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emocnice v ČR)</a:t>
            </a:r>
          </a:p>
        </p:txBody>
      </p:sp>
      <p:graphicFrame>
        <p:nvGraphicFramePr>
          <p:cNvPr id="11" name="Chart 43">
            <a:extLst>
              <a:ext uri="{FF2B5EF4-FFF2-40B4-BE49-F238E27FC236}">
                <a16:creationId xmlns:a16="http://schemas.microsoft.com/office/drawing/2014/main" id="{4678FA03-4157-40CD-BBCE-DFD0F8BD98D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57796" y="1894979"/>
          <a:ext cx="5601981" cy="449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Obdélník 2">
            <a:extLst>
              <a:ext uri="{FF2B5EF4-FFF2-40B4-BE49-F238E27FC236}">
                <a16:creationId xmlns:a16="http://schemas.microsoft.com/office/drawing/2014/main" id="{0977625C-2669-4D75-AB76-2781CF6C85CA}"/>
              </a:ext>
            </a:extLst>
          </p:cNvPr>
          <p:cNvSpPr/>
          <p:nvPr/>
        </p:nvSpPr>
        <p:spPr>
          <a:xfrm>
            <a:off x="1344916" y="6377901"/>
            <a:ext cx="4216400" cy="222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řadí týdne, za 5leté období 2015–2019</a:t>
            </a:r>
          </a:p>
        </p:txBody>
      </p:sp>
      <p:sp>
        <p:nvSpPr>
          <p:cNvPr id="13" name="Obdélník 17">
            <a:extLst>
              <a:ext uri="{FF2B5EF4-FFF2-40B4-BE49-F238E27FC236}">
                <a16:creationId xmlns:a16="http://schemas.microsoft.com/office/drawing/2014/main" id="{D7D4DABD-3A8A-49F0-936C-636108E13584}"/>
              </a:ext>
            </a:extLst>
          </p:cNvPr>
          <p:cNvSpPr/>
          <p:nvPr/>
        </p:nvSpPr>
        <p:spPr>
          <a:xfrm>
            <a:off x="7261169" y="6377902"/>
            <a:ext cx="4216400" cy="222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řadí týdne, za 5leté období 2015–2019</a:t>
            </a:r>
          </a:p>
        </p:txBody>
      </p:sp>
      <p:cxnSp>
        <p:nvCxnSpPr>
          <p:cNvPr id="14" name="Přímá spojnice 4">
            <a:extLst>
              <a:ext uri="{FF2B5EF4-FFF2-40B4-BE49-F238E27FC236}">
                <a16:creationId xmlns:a16="http://schemas.microsoft.com/office/drawing/2014/main" id="{DFAAD1C9-436F-4969-A910-5140106D633B}"/>
              </a:ext>
            </a:extLst>
          </p:cNvPr>
          <p:cNvCxnSpPr/>
          <p:nvPr/>
        </p:nvCxnSpPr>
        <p:spPr>
          <a:xfrm>
            <a:off x="3886200" y="927688"/>
            <a:ext cx="36406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5">
            <a:extLst>
              <a:ext uri="{FF2B5EF4-FFF2-40B4-BE49-F238E27FC236}">
                <a16:creationId xmlns:a16="http://schemas.microsoft.com/office/drawing/2014/main" id="{0C45FB51-3E0C-411C-B849-F9F0BD16E7FD}"/>
              </a:ext>
            </a:extLst>
          </p:cNvPr>
          <p:cNvSpPr/>
          <p:nvPr/>
        </p:nvSpPr>
        <p:spPr>
          <a:xfrm>
            <a:off x="7458364" y="835355"/>
            <a:ext cx="369333" cy="18466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6">
            <a:extLst>
              <a:ext uri="{FF2B5EF4-FFF2-40B4-BE49-F238E27FC236}">
                <a16:creationId xmlns:a16="http://schemas.microsoft.com/office/drawing/2014/main" id="{74130D66-48D4-4DE5-9E75-D534F2A51CF1}"/>
              </a:ext>
            </a:extLst>
          </p:cNvPr>
          <p:cNvSpPr txBox="1"/>
          <p:nvPr/>
        </p:nvSpPr>
        <p:spPr>
          <a:xfrm>
            <a:off x="4267648" y="725098"/>
            <a:ext cx="295615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denní počet pacientů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jednotlivých týdnech roku, průměr za 5leté období 2015–2019)</a:t>
            </a:r>
          </a:p>
        </p:txBody>
      </p:sp>
      <p:sp>
        <p:nvSpPr>
          <p:cNvPr id="17" name="TextovéPole 22">
            <a:extLst>
              <a:ext uri="{FF2B5EF4-FFF2-40B4-BE49-F238E27FC236}">
                <a16:creationId xmlns:a16="http://schemas.microsoft.com/office/drawing/2014/main" id="{E345F469-62F4-45DD-B776-F19EAB045254}"/>
              </a:ext>
            </a:extLst>
          </p:cNvPr>
          <p:cNvSpPr txBox="1"/>
          <p:nvPr/>
        </p:nvSpPr>
        <p:spPr>
          <a:xfrm>
            <a:off x="7867521" y="725098"/>
            <a:ext cx="407894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-max průměrného denního počtu pacientů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v jednotlivých týdnech roku, min-max za 5leté období 2015–2019)</a:t>
            </a:r>
          </a:p>
        </p:txBody>
      </p:sp>
      <p:graphicFrame>
        <p:nvGraphicFramePr>
          <p:cNvPr id="18" name="Tabulka 7">
            <a:extLst>
              <a:ext uri="{FF2B5EF4-FFF2-40B4-BE49-F238E27FC236}">
                <a16:creationId xmlns:a16="http://schemas.microsoft.com/office/drawing/2014/main" id="{0FEAF00F-D55C-4F74-BF7B-1878045B2688}"/>
              </a:ext>
            </a:extLst>
          </p:cNvPr>
          <p:cNvGraphicFramePr>
            <a:graphicFrameLocks noGrp="1"/>
          </p:cNvGraphicFramePr>
          <p:nvPr/>
        </p:nvGraphicFramePr>
        <p:xfrm>
          <a:off x="1177274" y="3901133"/>
          <a:ext cx="2378727" cy="198957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86727">
                  <a:extLst>
                    <a:ext uri="{9D8B030D-6E8A-4147-A177-3AD203B41FA5}">
                      <a16:colId xmlns:a16="http://schemas.microsoft.com/office/drawing/2014/main" val="2755104852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608456968"/>
                    </a:ext>
                  </a:extLst>
                </a:gridCol>
              </a:tblGrid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nní průměr (min-max</a:t>
                      </a: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742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d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111 (3 005–3 202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911879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no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23 (3 120–3 328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2691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řez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181 (3 073–3 300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71461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b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123 (3 028–3 269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371918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ět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063 (2 989–3 169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236516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rv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069 (3 001–3 201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871178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rvenec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713 (2 581–2 898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09840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p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676 (2 617–2 748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54142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áří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977 (2 927–3 044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616541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Říj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075 (3 037–3 176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6447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opad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121 (3 051–3 253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563891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sinec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877 (2 742–3 109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956325"/>
                  </a:ext>
                </a:extLst>
              </a:tr>
            </a:tbl>
          </a:graphicData>
        </a:graphic>
      </p:graphicFrame>
      <p:graphicFrame>
        <p:nvGraphicFramePr>
          <p:cNvPr id="19" name="Tabulka 27">
            <a:extLst>
              <a:ext uri="{FF2B5EF4-FFF2-40B4-BE49-F238E27FC236}">
                <a16:creationId xmlns:a16="http://schemas.microsoft.com/office/drawing/2014/main" id="{EE4701AA-1E7D-402B-B909-DC1DDA7EF1B7}"/>
              </a:ext>
            </a:extLst>
          </p:cNvPr>
          <p:cNvGraphicFramePr>
            <a:graphicFrameLocks noGrp="1"/>
          </p:cNvGraphicFramePr>
          <p:nvPr/>
        </p:nvGraphicFramePr>
        <p:xfrm>
          <a:off x="6990642" y="3901133"/>
          <a:ext cx="2378727" cy="202299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86727">
                  <a:extLst>
                    <a:ext uri="{9D8B030D-6E8A-4147-A177-3AD203B41FA5}">
                      <a16:colId xmlns:a16="http://schemas.microsoft.com/office/drawing/2014/main" val="2755104852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608456968"/>
                    </a:ext>
                  </a:extLst>
                </a:gridCol>
              </a:tblGrid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nní průměr (min-max</a:t>
                      </a:r>
                      <a:r>
                        <a:rPr lang="cs-CZ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742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d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3 (470–531)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911879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nor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 (499–551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2691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řez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5 (474–565)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71461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b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6 (451–522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7371918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vět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 (443–506)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236516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rv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 (444–492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871178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ervenec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 (381–457)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09840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p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4 (384–430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541427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áří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 (427–450)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616541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Říjen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3 (449–492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264473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opad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 (462–507)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563891"/>
                  </a:ext>
                </a:extLst>
              </a:tr>
              <a:tr h="134077"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sinec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740" marR="6740" marT="674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 (417–538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9563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9877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>
            <a:extLst>
              <a:ext uri="{FF2B5EF4-FFF2-40B4-BE49-F238E27FC236}">
                <a16:creationId xmlns:a16="http://schemas.microsoft.com/office/drawing/2014/main" id="{0F8EA0C3-257E-419C-BCDE-A4832629A0B0}"/>
              </a:ext>
            </a:extLst>
          </p:cNvPr>
          <p:cNvSpPr txBox="1"/>
          <p:nvPr/>
        </p:nvSpPr>
        <p:spPr>
          <a:xfrm>
            <a:off x="303825" y="656712"/>
            <a:ext cx="44616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NRHZS 2010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ISIN 2020–2021</a:t>
            </a:r>
          </a:p>
        </p:txBody>
      </p:sp>
      <p:sp>
        <p:nvSpPr>
          <p:cNvPr id="32" name="Nadpis 1">
            <a:extLst>
              <a:ext uri="{FF2B5EF4-FFF2-40B4-BE49-F238E27FC236}">
                <a16:creationId xmlns:a16="http://schemas.microsoft.com/office/drawing/2014/main" id="{9D8ECCF7-4138-4016-BEA4-91EF908228F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1740" y="2"/>
            <a:ext cx="6855968" cy="57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ůběh aktuálního počtu COVID-19 pacientů vs. dlouhodobé počty pacientů na JIP / ARO a UPV</a:t>
            </a: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1B5C2123-4AB3-47B9-ABDA-57E35BE33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081" y="2380991"/>
            <a:ext cx="3417971" cy="307777"/>
          </a:xfrm>
        </p:spPr>
        <p:txBody>
          <a:bodyPr/>
          <a:lstStyle/>
          <a:p>
            <a:r>
              <a:rPr lang="cs-CZ" dirty="0"/>
              <a:t>Průběh aktuálního počtu COVID19 pacientů vs. dlouhodobé počty pacientů na JIP / ARO a UPV</a:t>
            </a:r>
          </a:p>
        </p:txBody>
      </p:sp>
      <p:graphicFrame>
        <p:nvGraphicFramePr>
          <p:cNvPr id="7" name="Chart 7">
            <a:extLst>
              <a:ext uri="{FF2B5EF4-FFF2-40B4-BE49-F238E27FC236}">
                <a16:creationId xmlns:a16="http://schemas.microsoft.com/office/drawing/2014/main" id="{64668082-3103-4DFF-A91A-A37D29798FD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25829" y="2294521"/>
          <a:ext cx="5601981" cy="4455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8" name="TextBox 9">
            <a:extLst>
              <a:ext uri="{FF2B5EF4-FFF2-40B4-BE49-F238E27FC236}">
                <a16:creationId xmlns:a16="http://schemas.microsoft.com/office/drawing/2014/main" id="{7969AF11-3126-4FCC-A005-051F2253D57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7197" y="2428033"/>
            <a:ext cx="2676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měrný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nní počet za posledních 5 let: 3 032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8FECCB96-8EA8-46FF-AC75-A1013E52A53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476709" y="1105254"/>
            <a:ext cx="36377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P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 ARO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emocnice v ČR)</a:t>
            </a: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2D6C7AD-2AB6-4675-855E-22857F1DAD2A}"/>
              </a:ext>
            </a:extLst>
          </p:cNvPr>
          <p:cNvSpPr txBox="1"/>
          <p:nvPr/>
        </p:nvSpPr>
        <p:spPr>
          <a:xfrm rot="16200000">
            <a:off x="5179444" y="3831741"/>
            <a:ext cx="2194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pacientů</a:t>
            </a:r>
          </a:p>
        </p:txBody>
      </p:sp>
      <p:sp>
        <p:nvSpPr>
          <p:cNvPr id="12" name="TextBox 51">
            <a:extLst>
              <a:ext uri="{FF2B5EF4-FFF2-40B4-BE49-F238E27FC236}">
                <a16:creationId xmlns:a16="http://schemas.microsoft.com/office/drawing/2014/main" id="{4B950663-DF2E-48B2-94B0-DFBFE596F533}"/>
              </a:ext>
            </a:extLst>
          </p:cNvPr>
          <p:cNvSpPr txBox="1"/>
          <p:nvPr/>
        </p:nvSpPr>
        <p:spPr>
          <a:xfrm rot="16200000">
            <a:off x="-838444" y="3938682"/>
            <a:ext cx="2194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pacientů</a:t>
            </a:r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0F42A4F7-0B8D-48E5-B81C-AF2F481A843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448406" y="1105254"/>
            <a:ext cx="29996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V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emocnice v ČR)</a:t>
            </a:r>
          </a:p>
        </p:txBody>
      </p:sp>
      <p:grpSp>
        <p:nvGrpSpPr>
          <p:cNvPr id="14" name="Skupina 4">
            <a:extLst>
              <a:ext uri="{FF2B5EF4-FFF2-40B4-BE49-F238E27FC236}">
                <a16:creationId xmlns:a16="http://schemas.microsoft.com/office/drawing/2014/main" id="{CCA61DA0-900E-4C98-B4A8-E138449C90EE}"/>
              </a:ext>
            </a:extLst>
          </p:cNvPr>
          <p:cNvGrpSpPr/>
          <p:nvPr/>
        </p:nvGrpSpPr>
        <p:grpSpPr>
          <a:xfrm>
            <a:off x="1537853" y="1502304"/>
            <a:ext cx="3610766" cy="307777"/>
            <a:chOff x="1238596" y="3743340"/>
            <a:chExt cx="3610766" cy="307777"/>
          </a:xfrm>
        </p:grpSpPr>
        <p:sp>
          <p:nvSpPr>
            <p:cNvPr id="15" name="Obdélník 2">
              <a:extLst>
                <a:ext uri="{FF2B5EF4-FFF2-40B4-BE49-F238E27FC236}">
                  <a16:creationId xmlns:a16="http://schemas.microsoft.com/office/drawing/2014/main" id="{63647DBA-9D1C-4064-A6E1-774C40D4A50B}"/>
                </a:ext>
              </a:extLst>
            </p:cNvPr>
            <p:cNvSpPr/>
            <p:nvPr/>
          </p:nvSpPr>
          <p:spPr>
            <a:xfrm>
              <a:off x="1238596" y="3807229"/>
              <a:ext cx="180000" cy="180000"/>
            </a:xfrm>
            <a:prstGeom prst="rect">
              <a:avLst/>
            </a:prstGeom>
            <a:solidFill>
              <a:srgbClr val="4D7F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Obdélník 3">
              <a:extLst>
                <a:ext uri="{FF2B5EF4-FFF2-40B4-BE49-F238E27FC236}">
                  <a16:creationId xmlns:a16="http://schemas.microsoft.com/office/drawing/2014/main" id="{17054B0E-8764-422F-853F-C757FE2D416D}"/>
                </a:ext>
              </a:extLst>
            </p:cNvPr>
            <p:cNvSpPr/>
            <p:nvPr/>
          </p:nvSpPr>
          <p:spPr>
            <a:xfrm>
              <a:off x="1408099" y="3743340"/>
              <a:ext cx="344126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ktuální počet COVID19 pacientů na JIP/ARO</a:t>
              </a:r>
            </a:p>
          </p:txBody>
        </p:sp>
      </p:grp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DED36B56-864E-424E-AE63-E8E759ACCA81}"/>
              </a:ext>
            </a:extLst>
          </p:cNvPr>
          <p:cNvGrpSpPr/>
          <p:nvPr/>
        </p:nvGrpSpPr>
        <p:grpSpPr>
          <a:xfrm>
            <a:off x="7328817" y="1502304"/>
            <a:ext cx="3353195" cy="307777"/>
            <a:chOff x="1238596" y="3743340"/>
            <a:chExt cx="3353195" cy="307777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8060C0C5-EBA1-4E75-95AE-D1A4A17C3372}"/>
                </a:ext>
              </a:extLst>
            </p:cNvPr>
            <p:cNvSpPr/>
            <p:nvPr/>
          </p:nvSpPr>
          <p:spPr>
            <a:xfrm>
              <a:off x="1238596" y="3807229"/>
              <a:ext cx="180000" cy="180000"/>
            </a:xfrm>
            <a:prstGeom prst="rect">
              <a:avLst/>
            </a:prstGeom>
            <a:solidFill>
              <a:srgbClr val="F262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AFF2837-5DB2-43C5-A627-67F95C226A1F}"/>
                </a:ext>
              </a:extLst>
            </p:cNvPr>
            <p:cNvSpPr/>
            <p:nvPr/>
          </p:nvSpPr>
          <p:spPr>
            <a:xfrm>
              <a:off x="1408099" y="3743340"/>
              <a:ext cx="318369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ktuální počet COVID19 pacientů na UPV</a:t>
              </a:r>
            </a:p>
          </p:txBody>
        </p:sp>
      </p:grp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985C87CF-C448-43E0-B1E3-9B481E4B2D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717853" y="1754512"/>
            <a:ext cx="408936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ůměrný denní počet pacientů na JIP/ARO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období 2015–2019; min-max za jednotlivé roky)</a:t>
            </a:r>
          </a:p>
        </p:txBody>
      </p:sp>
      <p:grpSp>
        <p:nvGrpSpPr>
          <p:cNvPr id="21" name="Skupina 5">
            <a:extLst>
              <a:ext uri="{FF2B5EF4-FFF2-40B4-BE49-F238E27FC236}">
                <a16:creationId xmlns:a16="http://schemas.microsoft.com/office/drawing/2014/main" id="{EB2AAC6E-D445-4C10-A6DE-18FC1254E172}"/>
              </a:ext>
            </a:extLst>
          </p:cNvPr>
          <p:cNvGrpSpPr/>
          <p:nvPr/>
        </p:nvGrpSpPr>
        <p:grpSpPr>
          <a:xfrm>
            <a:off x="1511540" y="1860805"/>
            <a:ext cx="216000" cy="127352"/>
            <a:chOff x="4473685" y="789010"/>
            <a:chExt cx="364066" cy="127352"/>
          </a:xfrm>
        </p:grpSpPr>
        <p:cxnSp>
          <p:nvCxnSpPr>
            <p:cNvPr id="22" name="Přímá spojnice 22">
              <a:extLst>
                <a:ext uri="{FF2B5EF4-FFF2-40B4-BE49-F238E27FC236}">
                  <a16:creationId xmlns:a16="http://schemas.microsoft.com/office/drawing/2014/main" id="{37D7E40F-F7AA-4D9F-A7F1-9936B37061EF}"/>
                </a:ext>
              </a:extLst>
            </p:cNvPr>
            <p:cNvCxnSpPr/>
            <p:nvPr/>
          </p:nvCxnSpPr>
          <p:spPr>
            <a:xfrm>
              <a:off x="4473685" y="852740"/>
              <a:ext cx="364066" cy="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Přímá spojnice 24">
              <a:extLst>
                <a:ext uri="{FF2B5EF4-FFF2-40B4-BE49-F238E27FC236}">
                  <a16:creationId xmlns:a16="http://schemas.microsoft.com/office/drawing/2014/main" id="{1FCBD139-0AB2-4B97-ABFE-4343A68FA1D0}"/>
                </a:ext>
              </a:extLst>
            </p:cNvPr>
            <p:cNvCxnSpPr/>
            <p:nvPr/>
          </p:nvCxnSpPr>
          <p:spPr>
            <a:xfrm>
              <a:off x="4473685" y="789010"/>
              <a:ext cx="364066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Přímá spojnice 25">
              <a:extLst>
                <a:ext uri="{FF2B5EF4-FFF2-40B4-BE49-F238E27FC236}">
                  <a16:creationId xmlns:a16="http://schemas.microsoft.com/office/drawing/2014/main" id="{2E0CED02-D3A1-4A3E-A2CA-79604284AA5A}"/>
                </a:ext>
              </a:extLst>
            </p:cNvPr>
            <p:cNvCxnSpPr/>
            <p:nvPr/>
          </p:nvCxnSpPr>
          <p:spPr>
            <a:xfrm>
              <a:off x="4473685" y="916362"/>
              <a:ext cx="364066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ovéPole 26">
            <a:extLst>
              <a:ext uri="{FF2B5EF4-FFF2-40B4-BE49-F238E27FC236}">
                <a16:creationId xmlns:a16="http://schemas.microsoft.com/office/drawing/2014/main" id="{D1CA1052-75DE-4293-BDB8-369F7FE2D76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08817" y="1747606"/>
            <a:ext cx="408936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ůměrný denní počet pacientů na UPV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období 2015–2019; min-max za jednotlivé roky)</a:t>
            </a:r>
          </a:p>
        </p:txBody>
      </p:sp>
      <p:grpSp>
        <p:nvGrpSpPr>
          <p:cNvPr id="26" name="Skupina 27">
            <a:extLst>
              <a:ext uri="{FF2B5EF4-FFF2-40B4-BE49-F238E27FC236}">
                <a16:creationId xmlns:a16="http://schemas.microsoft.com/office/drawing/2014/main" id="{9261D807-37F3-4D38-B16F-65C08B864B8E}"/>
              </a:ext>
            </a:extLst>
          </p:cNvPr>
          <p:cNvGrpSpPr/>
          <p:nvPr/>
        </p:nvGrpSpPr>
        <p:grpSpPr>
          <a:xfrm>
            <a:off x="7302504" y="1853899"/>
            <a:ext cx="216000" cy="127352"/>
            <a:chOff x="4473685" y="789010"/>
            <a:chExt cx="364066" cy="127352"/>
          </a:xfrm>
        </p:grpSpPr>
        <p:cxnSp>
          <p:nvCxnSpPr>
            <p:cNvPr id="27" name="Přímá spojnice 28">
              <a:extLst>
                <a:ext uri="{FF2B5EF4-FFF2-40B4-BE49-F238E27FC236}">
                  <a16:creationId xmlns:a16="http://schemas.microsoft.com/office/drawing/2014/main" id="{2BE9AB8F-3CC2-44E8-AA42-AA4347373AD1}"/>
                </a:ext>
              </a:extLst>
            </p:cNvPr>
            <p:cNvCxnSpPr/>
            <p:nvPr/>
          </p:nvCxnSpPr>
          <p:spPr>
            <a:xfrm>
              <a:off x="4473685" y="852740"/>
              <a:ext cx="364066" cy="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9">
              <a:extLst>
                <a:ext uri="{FF2B5EF4-FFF2-40B4-BE49-F238E27FC236}">
                  <a16:creationId xmlns:a16="http://schemas.microsoft.com/office/drawing/2014/main" id="{30FE8556-353B-4027-8679-4487EA4FC636}"/>
                </a:ext>
              </a:extLst>
            </p:cNvPr>
            <p:cNvCxnSpPr/>
            <p:nvPr/>
          </p:nvCxnSpPr>
          <p:spPr>
            <a:xfrm>
              <a:off x="4473685" y="789010"/>
              <a:ext cx="364066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Přímá spojnice 30">
              <a:extLst>
                <a:ext uri="{FF2B5EF4-FFF2-40B4-BE49-F238E27FC236}">
                  <a16:creationId xmlns:a16="http://schemas.microsoft.com/office/drawing/2014/main" id="{11026FEB-AD89-4E41-BB98-2A616A5D008E}"/>
                </a:ext>
              </a:extLst>
            </p:cNvPr>
            <p:cNvCxnSpPr/>
            <p:nvPr/>
          </p:nvCxnSpPr>
          <p:spPr>
            <a:xfrm>
              <a:off x="4473685" y="916362"/>
              <a:ext cx="364066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" name="Chart 33">
            <a:extLst>
              <a:ext uri="{FF2B5EF4-FFF2-40B4-BE49-F238E27FC236}">
                <a16:creationId xmlns:a16="http://schemas.microsoft.com/office/drawing/2014/main" id="{3D8E8B40-9B92-4E7F-8139-A5D172792C7A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6364938" y="2294521"/>
          <a:ext cx="5601981" cy="4455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1" name="TextBox 14">
            <a:extLst>
              <a:ext uri="{FF2B5EF4-FFF2-40B4-BE49-F238E27FC236}">
                <a16:creationId xmlns:a16="http://schemas.microsoft.com/office/drawing/2014/main" id="{9EFBAE21-0563-4D1F-AE07-CD302CD1E76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877410" y="2428033"/>
            <a:ext cx="2676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ůměrný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nní počet za posledních 5 let: 469</a:t>
            </a:r>
          </a:p>
        </p:txBody>
      </p:sp>
    </p:spTree>
    <p:extLst>
      <p:ext uri="{BB962C8B-B14F-4D97-AF65-F5344CB8AC3E}">
        <p14:creationId xmlns:p14="http://schemas.microsoft.com/office/powerpoint/2010/main" val="3649999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4885" y="166714"/>
            <a:ext cx="11622229" cy="16903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pacientů s COVID-19, kteří potřebovali nemocniční péči byly velmi vysoké a významně ovlivnily chod nemocnic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četně zpoždění až zastavení neakutní péče</a:t>
            </a:r>
          </a:p>
        </p:txBody>
      </p:sp>
      <p:sp>
        <p:nvSpPr>
          <p:cNvPr id="18" name="Podnadpis 2">
            <a:extLst>
              <a:ext uri="{FF2B5EF4-FFF2-40B4-BE49-F238E27FC236}">
                <a16:creationId xmlns:a16="http://schemas.microsoft.com/office/drawing/2014/main" id="{98E63F42-BBCC-4A4F-AB46-442854B7EFA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84885" y="2480121"/>
            <a:ext cx="11622229" cy="16903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období nejvyšší zátěže se celkové počty hospitalizovaných dostávaly až k 10 000 v jeden den a z toho poč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ených  na JIP téměř k 2 000</a:t>
            </a:r>
          </a:p>
        </p:txBody>
      </p:sp>
      <p:sp>
        <p:nvSpPr>
          <p:cNvPr id="19" name="Podnadpis 2">
            <a:extLst>
              <a:ext uri="{FF2B5EF4-FFF2-40B4-BE49-F238E27FC236}">
                <a16:creationId xmlns:a16="http://schemas.microsoft.com/office/drawing/2014/main" id="{144AE914-5599-48DF-A015-8761E192617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84884" y="4793528"/>
            <a:ext cx="11622229" cy="16903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důsledku toho došlo k významnému propadu v objemu poskytované akutní lůžkové péče</a:t>
            </a:r>
          </a:p>
        </p:txBody>
      </p:sp>
      <p:sp>
        <p:nvSpPr>
          <p:cNvPr id="8" name="Šipka: dolů 7">
            <a:extLst>
              <a:ext uri="{FF2B5EF4-FFF2-40B4-BE49-F238E27FC236}">
                <a16:creationId xmlns:a16="http://schemas.microsoft.com/office/drawing/2014/main" id="{D9917281-E7CF-4377-9E5D-42792E0D7D07}"/>
              </a:ext>
            </a:extLst>
          </p:cNvPr>
          <p:cNvSpPr/>
          <p:nvPr/>
        </p:nvSpPr>
        <p:spPr>
          <a:xfrm>
            <a:off x="5222449" y="5957740"/>
            <a:ext cx="1574276" cy="641023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835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sz="3000" dirty="0">
                <a:solidFill>
                  <a:srgbClr val="DA2128"/>
                </a:solidFill>
              </a:rPr>
              <a:t>Počet hospitalizací na lůžku akutní péče v letech 2016–2021</a:t>
            </a:r>
            <a:endParaRPr lang="en-US" sz="3000" dirty="0">
              <a:solidFill>
                <a:srgbClr val="DA2128"/>
              </a:solidFill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4270" y="622102"/>
            <a:ext cx="66466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květen 2021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7761913-4DBB-4D5D-87F9-52AEEFAF3D3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2591" y="2111605"/>
          <a:ext cx="11360085" cy="4349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B1BE1691-1440-4C11-886C-1DC36292D310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7229272" y="594500"/>
          <a:ext cx="4506015" cy="9144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02632">
                  <a:extLst>
                    <a:ext uri="{9D8B030D-6E8A-4147-A177-3AD203B41FA5}">
                      <a16:colId xmlns:a16="http://schemas.microsoft.com/office/drawing/2014/main" val="3327562424"/>
                    </a:ext>
                  </a:extLst>
                </a:gridCol>
                <a:gridCol w="2003383">
                  <a:extLst>
                    <a:ext uri="{9D8B030D-6E8A-4147-A177-3AD203B41FA5}">
                      <a16:colId xmlns:a16="http://schemas.microsoft.com/office/drawing/2014/main" val="1375533342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Počet hospitalizací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1576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1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22 574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827645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202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9 693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63065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Relativní rozdíl</a:t>
                      </a:r>
                      <a:endParaRPr lang="cs-CZ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58100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54355CAC-9508-4399-8A9A-06D606AF2C5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429250" y="1342526"/>
          <a:ext cx="10083800" cy="1514475"/>
        </p:xfrm>
        <a:graphic>
          <a:graphicData uri="http://schemas.openxmlformats.org/drawingml/2006/table">
            <a:tbl>
              <a:tblPr/>
              <a:tblGrid>
                <a:gridCol w="838200">
                  <a:extLst>
                    <a:ext uri="{9D8B030D-6E8A-4147-A177-3AD203B41FA5}">
                      <a16:colId xmlns:a16="http://schemas.microsoft.com/office/drawing/2014/main" val="101235401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427347688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907281214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74165703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95372953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64634313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76327517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74037671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707770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41796402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793008094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679692113"/>
                    </a:ext>
                  </a:extLst>
                </a:gridCol>
              </a:tblGrid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19 vs. 2020: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810850"/>
                  </a:ext>
                </a:extLst>
              </a:tr>
              <a:tr h="993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 5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8 9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71 6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6 4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 6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4 0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 7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 0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9 1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8 8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5 0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07014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6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,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2,5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3,3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1,6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1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,8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8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6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7,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5,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6,9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3911217"/>
                  </a:ext>
                </a:extLst>
              </a:tr>
              <a:tr h="190500">
                <a:tc gridSpan="1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ní a relativní změna 2020 vs. 2021: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43163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6 4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1 07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 59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9 99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 08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38621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8,6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5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1,9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0,8 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0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970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06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7997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7"/>
            <a:ext cx="11535096" cy="631595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DA2128"/>
                </a:solidFill>
              </a:rPr>
              <a:t>Hospitalizace na lůžku akutní péče, vývoj 2016–2021 (leden, únor)</a:t>
            </a:r>
            <a:endParaRPr lang="en-US" dirty="0">
              <a:solidFill>
                <a:srgbClr val="DA2128"/>
              </a:solidFill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4316C13-C593-4493-9C7A-74C146BB3F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53621"/>
            <a:ext cx="119684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RHZS leden 2016 – únor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rnutí počtu akutních hospitalizací v jednotlivých obdobích let 01/2016–02/2021 </a:t>
            </a:r>
          </a:p>
        </p:txBody>
      </p:sp>
      <p:graphicFrame>
        <p:nvGraphicFramePr>
          <p:cNvPr id="9" name="Tabulka 7">
            <a:extLst>
              <a:ext uri="{FF2B5EF4-FFF2-40B4-BE49-F238E27FC236}">
                <a16:creationId xmlns:a16="http://schemas.microsoft.com/office/drawing/2014/main" id="{41E5C053-E942-4590-8CB9-3C8D3C0D2E88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3764765"/>
              </p:ext>
            </p:extLst>
          </p:nvPr>
        </p:nvGraphicFramePr>
        <p:xfrm>
          <a:off x="6345538" y="1975468"/>
          <a:ext cx="5142174" cy="24942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714058">
                  <a:extLst>
                    <a:ext uri="{9D8B030D-6E8A-4147-A177-3AD203B41FA5}">
                      <a16:colId xmlns:a16="http://schemas.microsoft.com/office/drawing/2014/main" val="2775961891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20903774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507257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Období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Počet 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Meziroční změna</a:t>
                      </a:r>
                      <a:endParaRPr lang="cs-CZ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4669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6-02/201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90 8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5864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7-02/2018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75 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-1,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8102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8-02/201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64 5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-1,1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6570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19-02/202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64 9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0,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0754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/2020-02/20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60 3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-21,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19051643"/>
                  </a:ext>
                </a:extLst>
              </a:tr>
            </a:tbl>
          </a:graphicData>
        </a:graphic>
      </p:graphicFrame>
      <p:sp>
        <p:nvSpPr>
          <p:cNvPr id="10" name="TextBox 6">
            <a:extLst>
              <a:ext uri="{FF2B5EF4-FFF2-40B4-BE49-F238E27FC236}">
                <a16:creationId xmlns:a16="http://schemas.microsoft.com/office/drawing/2014/main" id="{741BFAA1-9051-4E4B-8FAD-B7B1A9F7D9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56812" y="1252989"/>
            <a:ext cx="4162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ovnání šestiměsíčních období září–únor v letech 2016–2021</a:t>
            </a:r>
          </a:p>
        </p:txBody>
      </p:sp>
      <p:graphicFrame>
        <p:nvGraphicFramePr>
          <p:cNvPr id="12" name="Tabulka 7">
            <a:extLst>
              <a:ext uri="{FF2B5EF4-FFF2-40B4-BE49-F238E27FC236}">
                <a16:creationId xmlns:a16="http://schemas.microsoft.com/office/drawing/2014/main" id="{DD4220EF-ECFB-4592-B63F-BA8B8FD1D2F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4256711"/>
              </p:ext>
            </p:extLst>
          </p:nvPr>
        </p:nvGraphicFramePr>
        <p:xfrm>
          <a:off x="312383" y="1947964"/>
          <a:ext cx="5142174" cy="286512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714058">
                  <a:extLst>
                    <a:ext uri="{9D8B030D-6E8A-4147-A177-3AD203B41FA5}">
                      <a16:colId xmlns:a16="http://schemas.microsoft.com/office/drawing/2014/main" val="2775961891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20903774"/>
                    </a:ext>
                  </a:extLst>
                </a:gridCol>
                <a:gridCol w="1714058">
                  <a:extLst>
                    <a:ext uri="{9D8B030D-6E8A-4147-A177-3AD203B41FA5}">
                      <a16:colId xmlns:a16="http://schemas.microsoft.com/office/drawing/2014/main" val="507257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Období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Počet </a:t>
                      </a:r>
                      <a:endParaRPr lang="cs-CZ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/>
                        <a:t>Meziroční změna</a:t>
                      </a:r>
                      <a:endParaRPr lang="cs-CZ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4669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6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6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520296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01-02/2017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5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effectLst/>
                        </a:rPr>
                        <a:t>+5,2%</a:t>
                      </a:r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5864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01-02/2018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6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2,5%</a:t>
                      </a:r>
                      <a:endParaRPr lang="cs-CZ" sz="1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8102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01-02/2019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09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+2,0%</a:t>
                      </a:r>
                      <a:endParaRPr lang="cs-CZ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6570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01-02/2020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7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-1,2%</a:t>
                      </a:r>
                      <a:endParaRPr lang="cs-CZ" sz="1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0754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u="none" strike="noStrike">
                          <a:effectLst/>
                        </a:rPr>
                        <a:t>01-02/2021</a:t>
                      </a:r>
                      <a:endParaRPr lang="cs-CZ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775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13,8%</a:t>
                      </a:r>
                      <a:endParaRPr lang="cs-CZ" sz="1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19051643"/>
                  </a:ext>
                </a:extLst>
              </a:tr>
            </a:tbl>
          </a:graphicData>
        </a:graphic>
      </p:graphicFrame>
      <p:sp>
        <p:nvSpPr>
          <p:cNvPr id="14" name="TextBox 6">
            <a:extLst>
              <a:ext uri="{FF2B5EF4-FFF2-40B4-BE49-F238E27FC236}">
                <a16:creationId xmlns:a16="http://schemas.microsoft.com/office/drawing/2014/main" id="{828163FC-8CB6-474D-840D-1BE9E0C6D42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72591" y="1285216"/>
            <a:ext cx="31210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rovnání prvních dvou měsíců let 2016–2021</a:t>
            </a:r>
          </a:p>
        </p:txBody>
      </p:sp>
      <p:sp>
        <p:nvSpPr>
          <p:cNvPr id="15" name="Podnadpis 2">
            <a:extLst>
              <a:ext uri="{FF2B5EF4-FFF2-40B4-BE49-F238E27FC236}">
                <a16:creationId xmlns:a16="http://schemas.microsoft.com/office/drawing/2014/main" id="{0ACBB6B8-05E2-4520-BE19-3802058DB04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4885" y="5108118"/>
            <a:ext cx="11622229" cy="1215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větší dopad mělo (i vzhledem k délce nepřetržitého trvání) období září 2020 – únor/březen 2021</a:t>
            </a:r>
          </a:p>
        </p:txBody>
      </p:sp>
    </p:spTree>
    <p:extLst>
      <p:ext uri="{BB962C8B-B14F-4D97-AF65-F5344CB8AC3E}">
        <p14:creationId xmlns:p14="http://schemas.microsoft.com/office/powerpoint/2010/main" val="1508119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22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22</TotalTime>
  <Words>3091</Words>
  <Application>Microsoft Office PowerPoint</Application>
  <PresentationFormat>Širokoúhlá obrazovka</PresentationFormat>
  <Paragraphs>936</Paragraphs>
  <Slides>26</Slides>
  <Notes>6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7</vt:i4>
      </vt:variant>
      <vt:variant>
        <vt:lpstr>Nadpisy snímků</vt:lpstr>
      </vt:variant>
      <vt:variant>
        <vt:i4>26</vt:i4>
      </vt:variant>
    </vt:vector>
  </HeadingPairs>
  <TitlesOfParts>
    <vt:vector size="37" baseType="lpstr">
      <vt:lpstr>Arial</vt:lpstr>
      <vt:lpstr>Arial (Základní text)</vt:lpstr>
      <vt:lpstr>Calibri</vt:lpstr>
      <vt:lpstr>Calibri Light</vt:lpstr>
      <vt:lpstr>Motiv Office</vt:lpstr>
      <vt:lpstr>1_Motiv systému Office</vt:lpstr>
      <vt:lpstr>8_Motiv Office</vt:lpstr>
      <vt:lpstr>22_Motiv Office</vt:lpstr>
      <vt:lpstr>6_Motiv Office</vt:lpstr>
      <vt:lpstr>2_Motiv Office</vt:lpstr>
      <vt:lpstr>Motiv systému Office</vt:lpstr>
      <vt:lpstr>Datová a informační základna  pro management pandemie COVID-19</vt:lpstr>
      <vt:lpstr>Datová a informační základna  pro management pandemie COVID-19</vt:lpstr>
      <vt:lpstr>Prezentace aplikace PowerPoint</vt:lpstr>
      <vt:lpstr>Prezentace aplikace PowerPoint</vt:lpstr>
      <vt:lpstr>Dlouhodobé počty pacientů na JIP / ARO a UPV</vt:lpstr>
      <vt:lpstr>Průběh aktuálního počtu COVID19 pacientů vs. dlouhodobé počty pacientů na JIP / ARO a UPV</vt:lpstr>
      <vt:lpstr>Prezentace aplikace PowerPoint</vt:lpstr>
      <vt:lpstr>Počet hospitalizací na lůžku akutní péče v letech 2016–2021</vt:lpstr>
      <vt:lpstr>Hospitalizace na lůžku akutní péče, vývoj 2016–2021 (leden, únor)</vt:lpstr>
      <vt:lpstr>Datová a informační základna  pro management pandemie COVID-19</vt:lpstr>
      <vt:lpstr>Hospitalizace pro akutní infarkt myokardu, vývoj 01/2018–05/2021</vt:lpstr>
      <vt:lpstr>Hospitalizace pro srdeční selhání, vývoj 01/2018–05/2021</vt:lpstr>
      <vt:lpstr>Počet ambulantních vyšetření u kardiologa, vývoj 01/2018–05/2021</vt:lpstr>
      <vt:lpstr>Výběr z dat: kardiovaskulární onemocnění</vt:lpstr>
      <vt:lpstr>Datová a informační základna  pro management pandemie COVID-19</vt:lpstr>
      <vt:lpstr>Prezentace aplikace PowerPoint</vt:lpstr>
      <vt:lpstr>Preventivní prohlídky u praktického lékaře – dospělí</vt:lpstr>
      <vt:lpstr>Prezentace aplikace PowerPoint</vt:lpstr>
      <vt:lpstr>Prezentace aplikace PowerPoint</vt:lpstr>
      <vt:lpstr>Datová a informační základna  pro management pandemie COVID-19</vt:lpstr>
      <vt:lpstr>Počet provedených screeningových mamografií v letech  2020 vs. 2019 a 2021 vs. 2019</vt:lpstr>
      <vt:lpstr>Počet provedených cervikovaginálních cytologií v letech  2020 vs. 2019 a 2021 vs. 2019</vt:lpstr>
      <vt:lpstr>Počet provedených screeningových TOKS v letech  2020 vs. 2019 a 2021 vs. 2019</vt:lpstr>
      <vt:lpstr>Počet provedených screeningových kolonoskopií v letech  2020 vs. 2019 a 2021 vs. 2019</vt:lpstr>
      <vt:lpstr>Výběr z dat: onkologické screeningy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2770</cp:revision>
  <dcterms:created xsi:type="dcterms:W3CDTF">2020-03-16T10:06:11Z</dcterms:created>
  <dcterms:modified xsi:type="dcterms:W3CDTF">2021-10-20T01:37:33Z</dcterms:modified>
</cp:coreProperties>
</file>